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xlsx" ContentType="application/vnd.openxmlformats-officedocument.spreadsheetml.sheet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0" r:id="rId1"/>
    <p:sldMasterId id="2147483651" r:id="rId2"/>
  </p:sldMasterIdLst>
  <p:notesMasterIdLst>
    <p:notesMasterId r:id="rId23"/>
  </p:notesMasterIdLst>
  <p:sldIdLst>
    <p:sldId id="266" r:id="rId3"/>
    <p:sldId id="267" r:id="rId4"/>
    <p:sldId id="268" r:id="rId5"/>
    <p:sldId id="286" r:id="rId6"/>
    <p:sldId id="270" r:id="rId7"/>
    <p:sldId id="271" r:id="rId8"/>
    <p:sldId id="272" r:id="rId9"/>
    <p:sldId id="273" r:id="rId10"/>
    <p:sldId id="274" r:id="rId11"/>
    <p:sldId id="275" r:id="rId12"/>
    <p:sldId id="276" r:id="rId13"/>
    <p:sldId id="277" r:id="rId14"/>
    <p:sldId id="278" r:id="rId15"/>
    <p:sldId id="279" r:id="rId16"/>
    <p:sldId id="281" r:id="rId17"/>
    <p:sldId id="282" r:id="rId18"/>
    <p:sldId id="283" r:id="rId19"/>
    <p:sldId id="284" r:id="rId20"/>
    <p:sldId id="285" r:id="rId21"/>
    <p:sldId id="265" r:id="rId22"/>
  </p:sldIdLst>
  <p:sldSz cx="24384000" cy="13716000"/>
  <p:notesSz cx="6858000" cy="9144000"/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11200" kern="1200">
        <a:solidFill>
          <a:srgbClr val="000000"/>
        </a:solidFill>
        <a:latin typeface="Gill Sans" pitchFamily="-84" charset="0"/>
        <a:ea typeface="ヒラギノ角ゴ ProN W3" pitchFamily="-84" charset="-128"/>
        <a:cs typeface="+mn-cs"/>
        <a:sym typeface="Gill Sans" pitchFamily="-84" charset="0"/>
      </a:defRPr>
    </a:lvl1pPr>
    <a:lvl2pPr marL="457200" algn="ctr" rtl="0" fontAlgn="base">
      <a:spcBef>
        <a:spcPct val="0"/>
      </a:spcBef>
      <a:spcAft>
        <a:spcPct val="0"/>
      </a:spcAft>
      <a:defRPr sz="11200" kern="1200">
        <a:solidFill>
          <a:srgbClr val="000000"/>
        </a:solidFill>
        <a:latin typeface="Gill Sans" pitchFamily="-84" charset="0"/>
        <a:ea typeface="ヒラギノ角ゴ ProN W3" pitchFamily="-84" charset="-128"/>
        <a:cs typeface="+mn-cs"/>
        <a:sym typeface="Gill Sans" pitchFamily="-84" charset="0"/>
      </a:defRPr>
    </a:lvl2pPr>
    <a:lvl3pPr marL="914400" algn="ctr" rtl="0" fontAlgn="base">
      <a:spcBef>
        <a:spcPct val="0"/>
      </a:spcBef>
      <a:spcAft>
        <a:spcPct val="0"/>
      </a:spcAft>
      <a:defRPr sz="11200" kern="1200">
        <a:solidFill>
          <a:srgbClr val="000000"/>
        </a:solidFill>
        <a:latin typeface="Gill Sans" pitchFamily="-84" charset="0"/>
        <a:ea typeface="ヒラギノ角ゴ ProN W3" pitchFamily="-84" charset="-128"/>
        <a:cs typeface="+mn-cs"/>
        <a:sym typeface="Gill Sans" pitchFamily="-84" charset="0"/>
      </a:defRPr>
    </a:lvl3pPr>
    <a:lvl4pPr marL="1371600" algn="ctr" rtl="0" fontAlgn="base">
      <a:spcBef>
        <a:spcPct val="0"/>
      </a:spcBef>
      <a:spcAft>
        <a:spcPct val="0"/>
      </a:spcAft>
      <a:defRPr sz="11200" kern="1200">
        <a:solidFill>
          <a:srgbClr val="000000"/>
        </a:solidFill>
        <a:latin typeface="Gill Sans" pitchFamily="-84" charset="0"/>
        <a:ea typeface="ヒラギノ角ゴ ProN W3" pitchFamily="-84" charset="-128"/>
        <a:cs typeface="+mn-cs"/>
        <a:sym typeface="Gill Sans" pitchFamily="-84" charset="0"/>
      </a:defRPr>
    </a:lvl4pPr>
    <a:lvl5pPr marL="1828800" algn="ctr" rtl="0" fontAlgn="base">
      <a:spcBef>
        <a:spcPct val="0"/>
      </a:spcBef>
      <a:spcAft>
        <a:spcPct val="0"/>
      </a:spcAft>
      <a:defRPr sz="11200" kern="1200">
        <a:solidFill>
          <a:srgbClr val="000000"/>
        </a:solidFill>
        <a:latin typeface="Gill Sans" pitchFamily="-84" charset="0"/>
        <a:ea typeface="ヒラギノ角ゴ ProN W3" pitchFamily="-84" charset="-128"/>
        <a:cs typeface="+mn-cs"/>
        <a:sym typeface="Gill Sans" pitchFamily="-84" charset="0"/>
      </a:defRPr>
    </a:lvl5pPr>
    <a:lvl6pPr marL="2286000" algn="l" defTabSz="914400" rtl="0" eaLnBrk="1" latinLnBrk="0" hangingPunct="1">
      <a:defRPr sz="11200" kern="1200">
        <a:solidFill>
          <a:srgbClr val="000000"/>
        </a:solidFill>
        <a:latin typeface="Gill Sans" pitchFamily="-84" charset="0"/>
        <a:ea typeface="ヒラギノ角ゴ ProN W3" pitchFamily="-84" charset="-128"/>
        <a:cs typeface="+mn-cs"/>
        <a:sym typeface="Gill Sans" pitchFamily="-84" charset="0"/>
      </a:defRPr>
    </a:lvl6pPr>
    <a:lvl7pPr marL="2743200" algn="l" defTabSz="914400" rtl="0" eaLnBrk="1" latinLnBrk="0" hangingPunct="1">
      <a:defRPr sz="11200" kern="1200">
        <a:solidFill>
          <a:srgbClr val="000000"/>
        </a:solidFill>
        <a:latin typeface="Gill Sans" pitchFamily="-84" charset="0"/>
        <a:ea typeface="ヒラギノ角ゴ ProN W3" pitchFamily="-84" charset="-128"/>
        <a:cs typeface="+mn-cs"/>
        <a:sym typeface="Gill Sans" pitchFamily="-84" charset="0"/>
      </a:defRPr>
    </a:lvl7pPr>
    <a:lvl8pPr marL="3200400" algn="l" defTabSz="914400" rtl="0" eaLnBrk="1" latinLnBrk="0" hangingPunct="1">
      <a:defRPr sz="11200" kern="1200">
        <a:solidFill>
          <a:srgbClr val="000000"/>
        </a:solidFill>
        <a:latin typeface="Gill Sans" pitchFamily="-84" charset="0"/>
        <a:ea typeface="ヒラギノ角ゴ ProN W3" pitchFamily="-84" charset="-128"/>
        <a:cs typeface="+mn-cs"/>
        <a:sym typeface="Gill Sans" pitchFamily="-84" charset="0"/>
      </a:defRPr>
    </a:lvl8pPr>
    <a:lvl9pPr marL="3657600" algn="l" defTabSz="914400" rtl="0" eaLnBrk="1" latinLnBrk="0" hangingPunct="1">
      <a:defRPr sz="11200" kern="1200">
        <a:solidFill>
          <a:srgbClr val="000000"/>
        </a:solidFill>
        <a:latin typeface="Gill Sans" pitchFamily="-84" charset="0"/>
        <a:ea typeface="ヒラギノ角ゴ ProN W3" pitchFamily="-84" charset="-128"/>
        <a:cs typeface="+mn-cs"/>
        <a:sym typeface="Gill Sans" pitchFamily="-8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45" d="100"/>
          <a:sy n="45" d="100"/>
        </p:scale>
        <p:origin x="-408" y="-120"/>
      </p:cViewPr>
      <p:guideLst>
        <p:guide orient="horz" pos="4320"/>
        <p:guide pos="76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notesMaster" Target="notesMasters/notesMaster1.xml"/><Relationship Id="rId24" Type="http://schemas.openxmlformats.org/officeDocument/2006/relationships/printerSettings" Target="printerSettings/printerSettings1.bin"/><Relationship Id="rId25" Type="http://schemas.openxmlformats.org/officeDocument/2006/relationships/presProps" Target="presProps.xml"/><Relationship Id="rId26" Type="http://schemas.openxmlformats.org/officeDocument/2006/relationships/viewProps" Target="viewProps.xml"/><Relationship Id="rId27" Type="http://schemas.openxmlformats.org/officeDocument/2006/relationships/theme" Target="theme/theme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package" Target="../embeddings/Microsoft_Excel_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sz="2400" dirty="0"/>
              <a:t>Gains Chart</a:t>
            </a:r>
            <a:r>
              <a:rPr lang="en-US" sz="2400" baseline="0" dirty="0"/>
              <a:t> - Captured Failures by </a:t>
            </a:r>
            <a:r>
              <a:rPr lang="en-US" sz="2400" baseline="0" dirty="0" err="1"/>
              <a:t>Decile</a:t>
            </a:r>
            <a:endParaRPr lang="en-US" sz="2400" dirty="0"/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GainsChart!$B$1</c:f>
              <c:strCache>
                <c:ptCount val="1"/>
                <c:pt idx="0">
                  <c:v>Percentile</c:v>
                </c:pt>
              </c:strCache>
            </c:strRef>
          </c:tx>
          <c:marker>
            <c:symbol val="none"/>
          </c:marker>
          <c:cat>
            <c:numRef>
              <c:f>GainsChart!$B$2:$B$102</c:f>
              <c:numCache>
                <c:formatCode>General</c:formatCode>
                <c:ptCount val="101"/>
                <c:pt idx="0">
                  <c:v>0.0</c:v>
                </c:pt>
                <c:pt idx="1">
                  <c:v>1.0</c:v>
                </c:pt>
                <c:pt idx="2">
                  <c:v>2.0</c:v>
                </c:pt>
                <c:pt idx="3">
                  <c:v>3.0</c:v>
                </c:pt>
                <c:pt idx="4">
                  <c:v>4.0</c:v>
                </c:pt>
                <c:pt idx="5">
                  <c:v>5.0</c:v>
                </c:pt>
                <c:pt idx="6">
                  <c:v>6.0</c:v>
                </c:pt>
                <c:pt idx="7">
                  <c:v>7.0</c:v>
                </c:pt>
                <c:pt idx="8">
                  <c:v>8.0</c:v>
                </c:pt>
                <c:pt idx="9">
                  <c:v>9.0</c:v>
                </c:pt>
                <c:pt idx="10">
                  <c:v>10.0</c:v>
                </c:pt>
                <c:pt idx="11">
                  <c:v>11.0</c:v>
                </c:pt>
                <c:pt idx="12">
                  <c:v>12.0</c:v>
                </c:pt>
                <c:pt idx="13">
                  <c:v>13.0</c:v>
                </c:pt>
                <c:pt idx="14">
                  <c:v>14.0</c:v>
                </c:pt>
                <c:pt idx="15">
                  <c:v>15.0</c:v>
                </c:pt>
                <c:pt idx="16">
                  <c:v>16.0</c:v>
                </c:pt>
                <c:pt idx="17">
                  <c:v>17.0</c:v>
                </c:pt>
                <c:pt idx="18">
                  <c:v>18.0</c:v>
                </c:pt>
                <c:pt idx="19">
                  <c:v>19.0</c:v>
                </c:pt>
                <c:pt idx="20">
                  <c:v>20.0</c:v>
                </c:pt>
                <c:pt idx="21">
                  <c:v>21.0</c:v>
                </c:pt>
                <c:pt idx="22">
                  <c:v>22.0</c:v>
                </c:pt>
                <c:pt idx="23">
                  <c:v>23.0</c:v>
                </c:pt>
                <c:pt idx="24">
                  <c:v>24.0</c:v>
                </c:pt>
                <c:pt idx="25">
                  <c:v>25.0</c:v>
                </c:pt>
                <c:pt idx="26">
                  <c:v>26.0</c:v>
                </c:pt>
                <c:pt idx="27">
                  <c:v>27.0</c:v>
                </c:pt>
                <c:pt idx="28">
                  <c:v>28.0</c:v>
                </c:pt>
                <c:pt idx="29">
                  <c:v>29.0</c:v>
                </c:pt>
                <c:pt idx="30">
                  <c:v>30.0</c:v>
                </c:pt>
                <c:pt idx="31">
                  <c:v>31.0</c:v>
                </c:pt>
                <c:pt idx="32">
                  <c:v>32.0</c:v>
                </c:pt>
                <c:pt idx="33">
                  <c:v>33.0</c:v>
                </c:pt>
                <c:pt idx="34">
                  <c:v>34.0</c:v>
                </c:pt>
                <c:pt idx="35">
                  <c:v>35.0</c:v>
                </c:pt>
                <c:pt idx="36">
                  <c:v>36.0</c:v>
                </c:pt>
                <c:pt idx="37">
                  <c:v>37.0</c:v>
                </c:pt>
                <c:pt idx="38">
                  <c:v>38.0</c:v>
                </c:pt>
                <c:pt idx="39">
                  <c:v>39.0</c:v>
                </c:pt>
                <c:pt idx="40">
                  <c:v>40.0</c:v>
                </c:pt>
                <c:pt idx="41">
                  <c:v>41.0</c:v>
                </c:pt>
                <c:pt idx="42">
                  <c:v>42.0</c:v>
                </c:pt>
                <c:pt idx="43">
                  <c:v>43.0</c:v>
                </c:pt>
                <c:pt idx="44">
                  <c:v>44.0</c:v>
                </c:pt>
                <c:pt idx="45">
                  <c:v>45.0</c:v>
                </c:pt>
                <c:pt idx="46">
                  <c:v>46.0</c:v>
                </c:pt>
                <c:pt idx="47">
                  <c:v>47.0</c:v>
                </c:pt>
                <c:pt idx="48">
                  <c:v>48.0</c:v>
                </c:pt>
                <c:pt idx="49">
                  <c:v>49.0</c:v>
                </c:pt>
                <c:pt idx="50">
                  <c:v>50.0</c:v>
                </c:pt>
                <c:pt idx="51">
                  <c:v>51.0</c:v>
                </c:pt>
                <c:pt idx="52">
                  <c:v>52.0</c:v>
                </c:pt>
                <c:pt idx="53">
                  <c:v>53.0</c:v>
                </c:pt>
                <c:pt idx="54">
                  <c:v>54.0</c:v>
                </c:pt>
                <c:pt idx="55">
                  <c:v>55.0</c:v>
                </c:pt>
                <c:pt idx="56">
                  <c:v>56.0</c:v>
                </c:pt>
                <c:pt idx="57">
                  <c:v>57.0</c:v>
                </c:pt>
                <c:pt idx="58">
                  <c:v>58.0</c:v>
                </c:pt>
                <c:pt idx="59">
                  <c:v>59.0</c:v>
                </c:pt>
                <c:pt idx="60">
                  <c:v>60.0</c:v>
                </c:pt>
                <c:pt idx="61">
                  <c:v>61.0</c:v>
                </c:pt>
                <c:pt idx="62">
                  <c:v>62.0</c:v>
                </c:pt>
                <c:pt idx="63">
                  <c:v>63.0</c:v>
                </c:pt>
                <c:pt idx="64">
                  <c:v>64.0</c:v>
                </c:pt>
                <c:pt idx="65">
                  <c:v>65.0</c:v>
                </c:pt>
                <c:pt idx="66">
                  <c:v>66.0</c:v>
                </c:pt>
                <c:pt idx="67">
                  <c:v>67.0</c:v>
                </c:pt>
                <c:pt idx="68">
                  <c:v>68.0</c:v>
                </c:pt>
                <c:pt idx="69">
                  <c:v>69.0</c:v>
                </c:pt>
                <c:pt idx="70">
                  <c:v>70.0</c:v>
                </c:pt>
                <c:pt idx="71">
                  <c:v>71.0</c:v>
                </c:pt>
                <c:pt idx="72">
                  <c:v>72.0</c:v>
                </c:pt>
                <c:pt idx="73">
                  <c:v>73.0</c:v>
                </c:pt>
                <c:pt idx="74">
                  <c:v>74.0</c:v>
                </c:pt>
                <c:pt idx="75">
                  <c:v>75.0</c:v>
                </c:pt>
                <c:pt idx="76">
                  <c:v>76.0</c:v>
                </c:pt>
                <c:pt idx="77">
                  <c:v>77.0</c:v>
                </c:pt>
                <c:pt idx="78">
                  <c:v>78.0</c:v>
                </c:pt>
                <c:pt idx="79">
                  <c:v>79.0</c:v>
                </c:pt>
                <c:pt idx="80">
                  <c:v>80.0</c:v>
                </c:pt>
                <c:pt idx="81">
                  <c:v>81.0</c:v>
                </c:pt>
                <c:pt idx="82">
                  <c:v>82.0</c:v>
                </c:pt>
                <c:pt idx="83">
                  <c:v>83.0</c:v>
                </c:pt>
                <c:pt idx="84">
                  <c:v>84.0</c:v>
                </c:pt>
                <c:pt idx="85">
                  <c:v>85.0</c:v>
                </c:pt>
                <c:pt idx="86">
                  <c:v>86.0</c:v>
                </c:pt>
                <c:pt idx="87">
                  <c:v>87.0</c:v>
                </c:pt>
                <c:pt idx="88">
                  <c:v>88.0</c:v>
                </c:pt>
                <c:pt idx="89">
                  <c:v>89.0</c:v>
                </c:pt>
                <c:pt idx="90">
                  <c:v>90.0</c:v>
                </c:pt>
                <c:pt idx="91">
                  <c:v>91.0</c:v>
                </c:pt>
                <c:pt idx="92">
                  <c:v>92.0</c:v>
                </c:pt>
                <c:pt idx="93">
                  <c:v>93.0</c:v>
                </c:pt>
                <c:pt idx="94">
                  <c:v>94.0</c:v>
                </c:pt>
                <c:pt idx="95">
                  <c:v>95.0</c:v>
                </c:pt>
                <c:pt idx="96">
                  <c:v>96.0</c:v>
                </c:pt>
                <c:pt idx="97">
                  <c:v>97.0</c:v>
                </c:pt>
                <c:pt idx="98">
                  <c:v>98.0</c:v>
                </c:pt>
                <c:pt idx="99">
                  <c:v>99.0</c:v>
                </c:pt>
                <c:pt idx="100">
                  <c:v>100.0</c:v>
                </c:pt>
              </c:numCache>
            </c:numRef>
          </c:cat>
          <c:val>
            <c:numRef>
              <c:f>GainsChart!$B$2:$B$102</c:f>
              <c:numCache>
                <c:formatCode>General</c:formatCode>
                <c:ptCount val="101"/>
                <c:pt idx="0">
                  <c:v>0.0</c:v>
                </c:pt>
                <c:pt idx="1">
                  <c:v>1.0</c:v>
                </c:pt>
                <c:pt idx="2">
                  <c:v>2.0</c:v>
                </c:pt>
                <c:pt idx="3">
                  <c:v>3.0</c:v>
                </c:pt>
                <c:pt idx="4">
                  <c:v>4.0</c:v>
                </c:pt>
                <c:pt idx="5">
                  <c:v>5.0</c:v>
                </c:pt>
                <c:pt idx="6">
                  <c:v>6.0</c:v>
                </c:pt>
                <c:pt idx="7">
                  <c:v>7.0</c:v>
                </c:pt>
                <c:pt idx="8">
                  <c:v>8.0</c:v>
                </c:pt>
                <c:pt idx="9">
                  <c:v>9.0</c:v>
                </c:pt>
                <c:pt idx="10">
                  <c:v>10.0</c:v>
                </c:pt>
                <c:pt idx="11">
                  <c:v>11.0</c:v>
                </c:pt>
                <c:pt idx="12">
                  <c:v>12.0</c:v>
                </c:pt>
                <c:pt idx="13">
                  <c:v>13.0</c:v>
                </c:pt>
                <c:pt idx="14">
                  <c:v>14.0</c:v>
                </c:pt>
                <c:pt idx="15">
                  <c:v>15.0</c:v>
                </c:pt>
                <c:pt idx="16">
                  <c:v>16.0</c:v>
                </c:pt>
                <c:pt idx="17">
                  <c:v>17.0</c:v>
                </c:pt>
                <c:pt idx="18">
                  <c:v>18.0</c:v>
                </c:pt>
                <c:pt idx="19">
                  <c:v>19.0</c:v>
                </c:pt>
                <c:pt idx="20">
                  <c:v>20.0</c:v>
                </c:pt>
                <c:pt idx="21">
                  <c:v>21.0</c:v>
                </c:pt>
                <c:pt idx="22">
                  <c:v>22.0</c:v>
                </c:pt>
                <c:pt idx="23">
                  <c:v>23.0</c:v>
                </c:pt>
                <c:pt idx="24">
                  <c:v>24.0</c:v>
                </c:pt>
                <c:pt idx="25">
                  <c:v>25.0</c:v>
                </c:pt>
                <c:pt idx="26">
                  <c:v>26.0</c:v>
                </c:pt>
                <c:pt idx="27">
                  <c:v>27.0</c:v>
                </c:pt>
                <c:pt idx="28">
                  <c:v>28.0</c:v>
                </c:pt>
                <c:pt idx="29">
                  <c:v>29.0</c:v>
                </c:pt>
                <c:pt idx="30">
                  <c:v>30.0</c:v>
                </c:pt>
                <c:pt idx="31">
                  <c:v>31.0</c:v>
                </c:pt>
                <c:pt idx="32">
                  <c:v>32.0</c:v>
                </c:pt>
                <c:pt idx="33">
                  <c:v>33.0</c:v>
                </c:pt>
                <c:pt idx="34">
                  <c:v>34.0</c:v>
                </c:pt>
                <c:pt idx="35">
                  <c:v>35.0</c:v>
                </c:pt>
                <c:pt idx="36">
                  <c:v>36.0</c:v>
                </c:pt>
                <c:pt idx="37">
                  <c:v>37.0</c:v>
                </c:pt>
                <c:pt idx="38">
                  <c:v>38.0</c:v>
                </c:pt>
                <c:pt idx="39">
                  <c:v>39.0</c:v>
                </c:pt>
                <c:pt idx="40">
                  <c:v>40.0</c:v>
                </c:pt>
                <c:pt idx="41">
                  <c:v>41.0</c:v>
                </c:pt>
                <c:pt idx="42">
                  <c:v>42.0</c:v>
                </c:pt>
                <c:pt idx="43">
                  <c:v>43.0</c:v>
                </c:pt>
                <c:pt idx="44">
                  <c:v>44.0</c:v>
                </c:pt>
                <c:pt idx="45">
                  <c:v>45.0</c:v>
                </c:pt>
                <c:pt idx="46">
                  <c:v>46.0</c:v>
                </c:pt>
                <c:pt idx="47">
                  <c:v>47.0</c:v>
                </c:pt>
                <c:pt idx="48">
                  <c:v>48.0</c:v>
                </c:pt>
                <c:pt idx="49">
                  <c:v>49.0</c:v>
                </c:pt>
                <c:pt idx="50">
                  <c:v>50.0</c:v>
                </c:pt>
                <c:pt idx="51">
                  <c:v>51.0</c:v>
                </c:pt>
                <c:pt idx="52">
                  <c:v>52.0</c:v>
                </c:pt>
                <c:pt idx="53">
                  <c:v>53.0</c:v>
                </c:pt>
                <c:pt idx="54">
                  <c:v>54.0</c:v>
                </c:pt>
                <c:pt idx="55">
                  <c:v>55.0</c:v>
                </c:pt>
                <c:pt idx="56">
                  <c:v>56.0</c:v>
                </c:pt>
                <c:pt idx="57">
                  <c:v>57.0</c:v>
                </c:pt>
                <c:pt idx="58">
                  <c:v>58.0</c:v>
                </c:pt>
                <c:pt idx="59">
                  <c:v>59.0</c:v>
                </c:pt>
                <c:pt idx="60">
                  <c:v>60.0</c:v>
                </c:pt>
                <c:pt idx="61">
                  <c:v>61.0</c:v>
                </c:pt>
                <c:pt idx="62">
                  <c:v>62.0</c:v>
                </c:pt>
                <c:pt idx="63">
                  <c:v>63.0</c:v>
                </c:pt>
                <c:pt idx="64">
                  <c:v>64.0</c:v>
                </c:pt>
                <c:pt idx="65">
                  <c:v>65.0</c:v>
                </c:pt>
                <c:pt idx="66">
                  <c:v>66.0</c:v>
                </c:pt>
                <c:pt idx="67">
                  <c:v>67.0</c:v>
                </c:pt>
                <c:pt idx="68">
                  <c:v>68.0</c:v>
                </c:pt>
                <c:pt idx="69">
                  <c:v>69.0</c:v>
                </c:pt>
                <c:pt idx="70">
                  <c:v>70.0</c:v>
                </c:pt>
                <c:pt idx="71">
                  <c:v>71.0</c:v>
                </c:pt>
                <c:pt idx="72">
                  <c:v>72.0</c:v>
                </c:pt>
                <c:pt idx="73">
                  <c:v>73.0</c:v>
                </c:pt>
                <c:pt idx="74">
                  <c:v>74.0</c:v>
                </c:pt>
                <c:pt idx="75">
                  <c:v>75.0</c:v>
                </c:pt>
                <c:pt idx="76">
                  <c:v>76.0</c:v>
                </c:pt>
                <c:pt idx="77">
                  <c:v>77.0</c:v>
                </c:pt>
                <c:pt idx="78">
                  <c:v>78.0</c:v>
                </c:pt>
                <c:pt idx="79">
                  <c:v>79.0</c:v>
                </c:pt>
                <c:pt idx="80">
                  <c:v>80.0</c:v>
                </c:pt>
                <c:pt idx="81">
                  <c:v>81.0</c:v>
                </c:pt>
                <c:pt idx="82">
                  <c:v>82.0</c:v>
                </c:pt>
                <c:pt idx="83">
                  <c:v>83.0</c:v>
                </c:pt>
                <c:pt idx="84">
                  <c:v>84.0</c:v>
                </c:pt>
                <c:pt idx="85">
                  <c:v>85.0</c:v>
                </c:pt>
                <c:pt idx="86">
                  <c:v>86.0</c:v>
                </c:pt>
                <c:pt idx="87">
                  <c:v>87.0</c:v>
                </c:pt>
                <c:pt idx="88">
                  <c:v>88.0</c:v>
                </c:pt>
                <c:pt idx="89">
                  <c:v>89.0</c:v>
                </c:pt>
                <c:pt idx="90">
                  <c:v>90.0</c:v>
                </c:pt>
                <c:pt idx="91">
                  <c:v>91.0</c:v>
                </c:pt>
                <c:pt idx="92">
                  <c:v>92.0</c:v>
                </c:pt>
                <c:pt idx="93">
                  <c:v>93.0</c:v>
                </c:pt>
                <c:pt idx="94">
                  <c:v>94.0</c:v>
                </c:pt>
                <c:pt idx="95">
                  <c:v>95.0</c:v>
                </c:pt>
                <c:pt idx="96">
                  <c:v>96.0</c:v>
                </c:pt>
                <c:pt idx="97">
                  <c:v>97.0</c:v>
                </c:pt>
                <c:pt idx="98">
                  <c:v>98.0</c:v>
                </c:pt>
                <c:pt idx="99">
                  <c:v>99.0</c:v>
                </c:pt>
                <c:pt idx="100">
                  <c:v>100.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GainsChart!$D$1</c:f>
              <c:strCache>
                <c:ptCount val="1"/>
                <c:pt idx="0">
                  <c:v>Training Data</c:v>
                </c:pt>
              </c:strCache>
            </c:strRef>
          </c:tx>
          <c:marker>
            <c:symbol val="none"/>
          </c:marker>
          <c:cat>
            <c:numRef>
              <c:f>GainsChart!$B$2:$B$102</c:f>
              <c:numCache>
                <c:formatCode>General</c:formatCode>
                <c:ptCount val="101"/>
                <c:pt idx="0">
                  <c:v>0.0</c:v>
                </c:pt>
                <c:pt idx="1">
                  <c:v>1.0</c:v>
                </c:pt>
                <c:pt idx="2">
                  <c:v>2.0</c:v>
                </c:pt>
                <c:pt idx="3">
                  <c:v>3.0</c:v>
                </c:pt>
                <c:pt idx="4">
                  <c:v>4.0</c:v>
                </c:pt>
                <c:pt idx="5">
                  <c:v>5.0</c:v>
                </c:pt>
                <c:pt idx="6">
                  <c:v>6.0</c:v>
                </c:pt>
                <c:pt idx="7">
                  <c:v>7.0</c:v>
                </c:pt>
                <c:pt idx="8">
                  <c:v>8.0</c:v>
                </c:pt>
                <c:pt idx="9">
                  <c:v>9.0</c:v>
                </c:pt>
                <c:pt idx="10">
                  <c:v>10.0</c:v>
                </c:pt>
                <c:pt idx="11">
                  <c:v>11.0</c:v>
                </c:pt>
                <c:pt idx="12">
                  <c:v>12.0</c:v>
                </c:pt>
                <c:pt idx="13">
                  <c:v>13.0</c:v>
                </c:pt>
                <c:pt idx="14">
                  <c:v>14.0</c:v>
                </c:pt>
                <c:pt idx="15">
                  <c:v>15.0</c:v>
                </c:pt>
                <c:pt idx="16">
                  <c:v>16.0</c:v>
                </c:pt>
                <c:pt idx="17">
                  <c:v>17.0</c:v>
                </c:pt>
                <c:pt idx="18">
                  <c:v>18.0</c:v>
                </c:pt>
                <c:pt idx="19">
                  <c:v>19.0</c:v>
                </c:pt>
                <c:pt idx="20">
                  <c:v>20.0</c:v>
                </c:pt>
                <c:pt idx="21">
                  <c:v>21.0</c:v>
                </c:pt>
                <c:pt idx="22">
                  <c:v>22.0</c:v>
                </c:pt>
                <c:pt idx="23">
                  <c:v>23.0</c:v>
                </c:pt>
                <c:pt idx="24">
                  <c:v>24.0</c:v>
                </c:pt>
                <c:pt idx="25">
                  <c:v>25.0</c:v>
                </c:pt>
                <c:pt idx="26">
                  <c:v>26.0</c:v>
                </c:pt>
                <c:pt idx="27">
                  <c:v>27.0</c:v>
                </c:pt>
                <c:pt idx="28">
                  <c:v>28.0</c:v>
                </c:pt>
                <c:pt idx="29">
                  <c:v>29.0</c:v>
                </c:pt>
                <c:pt idx="30">
                  <c:v>30.0</c:v>
                </c:pt>
                <c:pt idx="31">
                  <c:v>31.0</c:v>
                </c:pt>
                <c:pt idx="32">
                  <c:v>32.0</c:v>
                </c:pt>
                <c:pt idx="33">
                  <c:v>33.0</c:v>
                </c:pt>
                <c:pt idx="34">
                  <c:v>34.0</c:v>
                </c:pt>
                <c:pt idx="35">
                  <c:v>35.0</c:v>
                </c:pt>
                <c:pt idx="36">
                  <c:v>36.0</c:v>
                </c:pt>
                <c:pt idx="37">
                  <c:v>37.0</c:v>
                </c:pt>
                <c:pt idx="38">
                  <c:v>38.0</c:v>
                </c:pt>
                <c:pt idx="39">
                  <c:v>39.0</c:v>
                </c:pt>
                <c:pt idx="40">
                  <c:v>40.0</c:v>
                </c:pt>
                <c:pt idx="41">
                  <c:v>41.0</c:v>
                </c:pt>
                <c:pt idx="42">
                  <c:v>42.0</c:v>
                </c:pt>
                <c:pt idx="43">
                  <c:v>43.0</c:v>
                </c:pt>
                <c:pt idx="44">
                  <c:v>44.0</c:v>
                </c:pt>
                <c:pt idx="45">
                  <c:v>45.0</c:v>
                </c:pt>
                <c:pt idx="46">
                  <c:v>46.0</c:v>
                </c:pt>
                <c:pt idx="47">
                  <c:v>47.0</c:v>
                </c:pt>
                <c:pt idx="48">
                  <c:v>48.0</c:v>
                </c:pt>
                <c:pt idx="49">
                  <c:v>49.0</c:v>
                </c:pt>
                <c:pt idx="50">
                  <c:v>50.0</c:v>
                </c:pt>
                <c:pt idx="51">
                  <c:v>51.0</c:v>
                </c:pt>
                <c:pt idx="52">
                  <c:v>52.0</c:v>
                </c:pt>
                <c:pt idx="53">
                  <c:v>53.0</c:v>
                </c:pt>
                <c:pt idx="54">
                  <c:v>54.0</c:v>
                </c:pt>
                <c:pt idx="55">
                  <c:v>55.0</c:v>
                </c:pt>
                <c:pt idx="56">
                  <c:v>56.0</c:v>
                </c:pt>
                <c:pt idx="57">
                  <c:v>57.0</c:v>
                </c:pt>
                <c:pt idx="58">
                  <c:v>58.0</c:v>
                </c:pt>
                <c:pt idx="59">
                  <c:v>59.0</c:v>
                </c:pt>
                <c:pt idx="60">
                  <c:v>60.0</c:v>
                </c:pt>
                <c:pt idx="61">
                  <c:v>61.0</c:v>
                </c:pt>
                <c:pt idx="62">
                  <c:v>62.0</c:v>
                </c:pt>
                <c:pt idx="63">
                  <c:v>63.0</c:v>
                </c:pt>
                <c:pt idx="64">
                  <c:v>64.0</c:v>
                </c:pt>
                <c:pt idx="65">
                  <c:v>65.0</c:v>
                </c:pt>
                <c:pt idx="66">
                  <c:v>66.0</c:v>
                </c:pt>
                <c:pt idx="67">
                  <c:v>67.0</c:v>
                </c:pt>
                <c:pt idx="68">
                  <c:v>68.0</c:v>
                </c:pt>
                <c:pt idx="69">
                  <c:v>69.0</c:v>
                </c:pt>
                <c:pt idx="70">
                  <c:v>70.0</c:v>
                </c:pt>
                <c:pt idx="71">
                  <c:v>71.0</c:v>
                </c:pt>
                <c:pt idx="72">
                  <c:v>72.0</c:v>
                </c:pt>
                <c:pt idx="73">
                  <c:v>73.0</c:v>
                </c:pt>
                <c:pt idx="74">
                  <c:v>74.0</c:v>
                </c:pt>
                <c:pt idx="75">
                  <c:v>75.0</c:v>
                </c:pt>
                <c:pt idx="76">
                  <c:v>76.0</c:v>
                </c:pt>
                <c:pt idx="77">
                  <c:v>77.0</c:v>
                </c:pt>
                <c:pt idx="78">
                  <c:v>78.0</c:v>
                </c:pt>
                <c:pt idx="79">
                  <c:v>79.0</c:v>
                </c:pt>
                <c:pt idx="80">
                  <c:v>80.0</c:v>
                </c:pt>
                <c:pt idx="81">
                  <c:v>81.0</c:v>
                </c:pt>
                <c:pt idx="82">
                  <c:v>82.0</c:v>
                </c:pt>
                <c:pt idx="83">
                  <c:v>83.0</c:v>
                </c:pt>
                <c:pt idx="84">
                  <c:v>84.0</c:v>
                </c:pt>
                <c:pt idx="85">
                  <c:v>85.0</c:v>
                </c:pt>
                <c:pt idx="86">
                  <c:v>86.0</c:v>
                </c:pt>
                <c:pt idx="87">
                  <c:v>87.0</c:v>
                </c:pt>
                <c:pt idx="88">
                  <c:v>88.0</c:v>
                </c:pt>
                <c:pt idx="89">
                  <c:v>89.0</c:v>
                </c:pt>
                <c:pt idx="90">
                  <c:v>90.0</c:v>
                </c:pt>
                <c:pt idx="91">
                  <c:v>91.0</c:v>
                </c:pt>
                <c:pt idx="92">
                  <c:v>92.0</c:v>
                </c:pt>
                <c:pt idx="93">
                  <c:v>93.0</c:v>
                </c:pt>
                <c:pt idx="94">
                  <c:v>94.0</c:v>
                </c:pt>
                <c:pt idx="95">
                  <c:v>95.0</c:v>
                </c:pt>
                <c:pt idx="96">
                  <c:v>96.0</c:v>
                </c:pt>
                <c:pt idx="97">
                  <c:v>97.0</c:v>
                </c:pt>
                <c:pt idx="98">
                  <c:v>98.0</c:v>
                </c:pt>
                <c:pt idx="99">
                  <c:v>99.0</c:v>
                </c:pt>
                <c:pt idx="100">
                  <c:v>100.0</c:v>
                </c:pt>
              </c:numCache>
            </c:numRef>
          </c:cat>
          <c:val>
            <c:numRef>
              <c:f>GainsChart!$D$2:$D$102</c:f>
              <c:numCache>
                <c:formatCode>General</c:formatCode>
                <c:ptCount val="101"/>
                <c:pt idx="0">
                  <c:v>0.0</c:v>
                </c:pt>
                <c:pt idx="1">
                  <c:v>27.35489400000004</c:v>
                </c:pt>
                <c:pt idx="2">
                  <c:v>54.581281</c:v>
                </c:pt>
                <c:pt idx="3">
                  <c:v>77.339901</c:v>
                </c:pt>
                <c:pt idx="4">
                  <c:v>83.448276</c:v>
                </c:pt>
                <c:pt idx="5">
                  <c:v>84.7634690000001</c:v>
                </c:pt>
                <c:pt idx="6">
                  <c:v>85.724596</c:v>
                </c:pt>
                <c:pt idx="7">
                  <c:v>86.387719</c:v>
                </c:pt>
                <c:pt idx="8">
                  <c:v>88.007968</c:v>
                </c:pt>
                <c:pt idx="9">
                  <c:v>89.142714</c:v>
                </c:pt>
                <c:pt idx="10">
                  <c:v>90.492611</c:v>
                </c:pt>
                <c:pt idx="11">
                  <c:v>91.07142899999998</c:v>
                </c:pt>
                <c:pt idx="12">
                  <c:v>92.00844499999998</c:v>
                </c:pt>
                <c:pt idx="13">
                  <c:v>92.279105</c:v>
                </c:pt>
                <c:pt idx="14">
                  <c:v>92.551724</c:v>
                </c:pt>
                <c:pt idx="15">
                  <c:v>92.91148900000013</c:v>
                </c:pt>
                <c:pt idx="16">
                  <c:v>93.10344799999996</c:v>
                </c:pt>
                <c:pt idx="17">
                  <c:v>93.10344799999996</c:v>
                </c:pt>
                <c:pt idx="18">
                  <c:v>93.18388399999998</c:v>
                </c:pt>
                <c:pt idx="19">
                  <c:v>93.27730799999995</c:v>
                </c:pt>
                <c:pt idx="20">
                  <c:v>93.46366800000002</c:v>
                </c:pt>
                <c:pt idx="21">
                  <c:v>93.65068999999998</c:v>
                </c:pt>
                <c:pt idx="22">
                  <c:v>93.83705</c:v>
                </c:pt>
                <c:pt idx="23">
                  <c:v>94.02407199999992</c:v>
                </c:pt>
                <c:pt idx="24">
                  <c:v>94.21043199999998</c:v>
                </c:pt>
                <c:pt idx="25">
                  <c:v>94.384236</c:v>
                </c:pt>
                <c:pt idx="26">
                  <c:v>94.47078899999984</c:v>
                </c:pt>
                <c:pt idx="27">
                  <c:v>94.600617</c:v>
                </c:pt>
                <c:pt idx="28">
                  <c:v>94.730906</c:v>
                </c:pt>
                <c:pt idx="29">
                  <c:v>94.77832499999998</c:v>
                </c:pt>
                <c:pt idx="30">
                  <c:v>94.77832499999998</c:v>
                </c:pt>
                <c:pt idx="31">
                  <c:v>95.72233999999999</c:v>
                </c:pt>
                <c:pt idx="32">
                  <c:v>96.748768</c:v>
                </c:pt>
                <c:pt idx="33">
                  <c:v>96.805023</c:v>
                </c:pt>
                <c:pt idx="34">
                  <c:v>96.89201799999998</c:v>
                </c:pt>
                <c:pt idx="35">
                  <c:v>96.97870499999995</c:v>
                </c:pt>
                <c:pt idx="36">
                  <c:v>97.06569899999998</c:v>
                </c:pt>
                <c:pt idx="37">
                  <c:v>97.14285699999998</c:v>
                </c:pt>
                <c:pt idx="38">
                  <c:v>97.14285699999998</c:v>
                </c:pt>
                <c:pt idx="39">
                  <c:v>97.14285699999998</c:v>
                </c:pt>
                <c:pt idx="40">
                  <c:v>97.2116690000002</c:v>
                </c:pt>
                <c:pt idx="41">
                  <c:v>97.290511</c:v>
                </c:pt>
                <c:pt idx="42">
                  <c:v>97.369074</c:v>
                </c:pt>
                <c:pt idx="43">
                  <c:v>97.44791600000013</c:v>
                </c:pt>
                <c:pt idx="44">
                  <c:v>97.5264789999998</c:v>
                </c:pt>
                <c:pt idx="45">
                  <c:v>97.60531999999998</c:v>
                </c:pt>
                <c:pt idx="46">
                  <c:v>97.6838829999998</c:v>
                </c:pt>
                <c:pt idx="47">
                  <c:v>97.762725</c:v>
                </c:pt>
                <c:pt idx="48">
                  <c:v>97.841288</c:v>
                </c:pt>
                <c:pt idx="49">
                  <c:v>97.92013</c:v>
                </c:pt>
                <c:pt idx="50">
                  <c:v>97.99897099999998</c:v>
                </c:pt>
                <c:pt idx="51">
                  <c:v>98.077534</c:v>
                </c:pt>
                <c:pt idx="52">
                  <c:v>98.1563759999998</c:v>
                </c:pt>
                <c:pt idx="53">
                  <c:v>98.23493899999998</c:v>
                </c:pt>
                <c:pt idx="54">
                  <c:v>98.31377999999998</c:v>
                </c:pt>
                <c:pt idx="55">
                  <c:v>98.39234299999984</c:v>
                </c:pt>
                <c:pt idx="56">
                  <c:v>98.471185</c:v>
                </c:pt>
                <c:pt idx="57">
                  <c:v>98.52216699999998</c:v>
                </c:pt>
                <c:pt idx="58">
                  <c:v>98.52216699999998</c:v>
                </c:pt>
                <c:pt idx="59">
                  <c:v>98.52216699999998</c:v>
                </c:pt>
                <c:pt idx="60">
                  <c:v>98.52216699999998</c:v>
                </c:pt>
                <c:pt idx="61">
                  <c:v>98.52216699999998</c:v>
                </c:pt>
                <c:pt idx="62">
                  <c:v>98.52216699999998</c:v>
                </c:pt>
                <c:pt idx="63">
                  <c:v>98.52216699999998</c:v>
                </c:pt>
                <c:pt idx="64">
                  <c:v>98.539849</c:v>
                </c:pt>
                <c:pt idx="65">
                  <c:v>98.57343099999989</c:v>
                </c:pt>
                <c:pt idx="66">
                  <c:v>98.60689499999998</c:v>
                </c:pt>
                <c:pt idx="67">
                  <c:v>98.64047699999992</c:v>
                </c:pt>
                <c:pt idx="68">
                  <c:v>98.67394099999989</c:v>
                </c:pt>
                <c:pt idx="69">
                  <c:v>98.707523</c:v>
                </c:pt>
                <c:pt idx="70">
                  <c:v>98.740987</c:v>
                </c:pt>
                <c:pt idx="71">
                  <c:v>98.7745690000001</c:v>
                </c:pt>
                <c:pt idx="72">
                  <c:v>98.8080329999998</c:v>
                </c:pt>
                <c:pt idx="73">
                  <c:v>98.84161500000014</c:v>
                </c:pt>
                <c:pt idx="74">
                  <c:v>98.87507899999977</c:v>
                </c:pt>
                <c:pt idx="75">
                  <c:v>98.908662</c:v>
                </c:pt>
                <c:pt idx="76">
                  <c:v>98.91625600000016</c:v>
                </c:pt>
                <c:pt idx="77">
                  <c:v>98.91625600000016</c:v>
                </c:pt>
                <c:pt idx="78">
                  <c:v>98.91625600000016</c:v>
                </c:pt>
                <c:pt idx="79">
                  <c:v>98.91625600000016</c:v>
                </c:pt>
                <c:pt idx="80">
                  <c:v>98.91625600000016</c:v>
                </c:pt>
                <c:pt idx="81">
                  <c:v>99.01236799999998</c:v>
                </c:pt>
                <c:pt idx="82">
                  <c:v>99.246848</c:v>
                </c:pt>
                <c:pt idx="83">
                  <c:v>99.48049899999998</c:v>
                </c:pt>
                <c:pt idx="84">
                  <c:v>99.7149790000001</c:v>
                </c:pt>
                <c:pt idx="85">
                  <c:v>99.94863000000002</c:v>
                </c:pt>
                <c:pt idx="86">
                  <c:v>100.0</c:v>
                </c:pt>
                <c:pt idx="87">
                  <c:v>100.0</c:v>
                </c:pt>
                <c:pt idx="88">
                  <c:v>100.0</c:v>
                </c:pt>
                <c:pt idx="89">
                  <c:v>100.0</c:v>
                </c:pt>
                <c:pt idx="90">
                  <c:v>100.0</c:v>
                </c:pt>
                <c:pt idx="91">
                  <c:v>100.0</c:v>
                </c:pt>
                <c:pt idx="92">
                  <c:v>100.0</c:v>
                </c:pt>
                <c:pt idx="93">
                  <c:v>100.0</c:v>
                </c:pt>
                <c:pt idx="94">
                  <c:v>100.0</c:v>
                </c:pt>
                <c:pt idx="95">
                  <c:v>100.0</c:v>
                </c:pt>
                <c:pt idx="96">
                  <c:v>100.0</c:v>
                </c:pt>
                <c:pt idx="97">
                  <c:v>100.0</c:v>
                </c:pt>
                <c:pt idx="98">
                  <c:v>100.0</c:v>
                </c:pt>
                <c:pt idx="99">
                  <c:v>100.0</c:v>
                </c:pt>
                <c:pt idx="100">
                  <c:v>100.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GainsChart!$E$1</c:f>
              <c:strCache>
                <c:ptCount val="1"/>
                <c:pt idx="0">
                  <c:v>Test Data</c:v>
                </c:pt>
              </c:strCache>
            </c:strRef>
          </c:tx>
          <c:marker>
            <c:symbol val="none"/>
          </c:marker>
          <c:cat>
            <c:numRef>
              <c:f>GainsChart!$B$2:$B$102</c:f>
              <c:numCache>
                <c:formatCode>General</c:formatCode>
                <c:ptCount val="101"/>
                <c:pt idx="0">
                  <c:v>0.0</c:v>
                </c:pt>
                <c:pt idx="1">
                  <c:v>1.0</c:v>
                </c:pt>
                <c:pt idx="2">
                  <c:v>2.0</c:v>
                </c:pt>
                <c:pt idx="3">
                  <c:v>3.0</c:v>
                </c:pt>
                <c:pt idx="4">
                  <c:v>4.0</c:v>
                </c:pt>
                <c:pt idx="5">
                  <c:v>5.0</c:v>
                </c:pt>
                <c:pt idx="6">
                  <c:v>6.0</c:v>
                </c:pt>
                <c:pt idx="7">
                  <c:v>7.0</c:v>
                </c:pt>
                <c:pt idx="8">
                  <c:v>8.0</c:v>
                </c:pt>
                <c:pt idx="9">
                  <c:v>9.0</c:v>
                </c:pt>
                <c:pt idx="10">
                  <c:v>10.0</c:v>
                </c:pt>
                <c:pt idx="11">
                  <c:v>11.0</c:v>
                </c:pt>
                <c:pt idx="12">
                  <c:v>12.0</c:v>
                </c:pt>
                <c:pt idx="13">
                  <c:v>13.0</c:v>
                </c:pt>
                <c:pt idx="14">
                  <c:v>14.0</c:v>
                </c:pt>
                <c:pt idx="15">
                  <c:v>15.0</c:v>
                </c:pt>
                <c:pt idx="16">
                  <c:v>16.0</c:v>
                </c:pt>
                <c:pt idx="17">
                  <c:v>17.0</c:v>
                </c:pt>
                <c:pt idx="18">
                  <c:v>18.0</c:v>
                </c:pt>
                <c:pt idx="19">
                  <c:v>19.0</c:v>
                </c:pt>
                <c:pt idx="20">
                  <c:v>20.0</c:v>
                </c:pt>
                <c:pt idx="21">
                  <c:v>21.0</c:v>
                </c:pt>
                <c:pt idx="22">
                  <c:v>22.0</c:v>
                </c:pt>
                <c:pt idx="23">
                  <c:v>23.0</c:v>
                </c:pt>
                <c:pt idx="24">
                  <c:v>24.0</c:v>
                </c:pt>
                <c:pt idx="25">
                  <c:v>25.0</c:v>
                </c:pt>
                <c:pt idx="26">
                  <c:v>26.0</c:v>
                </c:pt>
                <c:pt idx="27">
                  <c:v>27.0</c:v>
                </c:pt>
                <c:pt idx="28">
                  <c:v>28.0</c:v>
                </c:pt>
                <c:pt idx="29">
                  <c:v>29.0</c:v>
                </c:pt>
                <c:pt idx="30">
                  <c:v>30.0</c:v>
                </c:pt>
                <c:pt idx="31">
                  <c:v>31.0</c:v>
                </c:pt>
                <c:pt idx="32">
                  <c:v>32.0</c:v>
                </c:pt>
                <c:pt idx="33">
                  <c:v>33.0</c:v>
                </c:pt>
                <c:pt idx="34">
                  <c:v>34.0</c:v>
                </c:pt>
                <c:pt idx="35">
                  <c:v>35.0</c:v>
                </c:pt>
                <c:pt idx="36">
                  <c:v>36.0</c:v>
                </c:pt>
                <c:pt idx="37">
                  <c:v>37.0</c:v>
                </c:pt>
                <c:pt idx="38">
                  <c:v>38.0</c:v>
                </c:pt>
                <c:pt idx="39">
                  <c:v>39.0</c:v>
                </c:pt>
                <c:pt idx="40">
                  <c:v>40.0</c:v>
                </c:pt>
                <c:pt idx="41">
                  <c:v>41.0</c:v>
                </c:pt>
                <c:pt idx="42">
                  <c:v>42.0</c:v>
                </c:pt>
                <c:pt idx="43">
                  <c:v>43.0</c:v>
                </c:pt>
                <c:pt idx="44">
                  <c:v>44.0</c:v>
                </c:pt>
                <c:pt idx="45">
                  <c:v>45.0</c:v>
                </c:pt>
                <c:pt idx="46">
                  <c:v>46.0</c:v>
                </c:pt>
                <c:pt idx="47">
                  <c:v>47.0</c:v>
                </c:pt>
                <c:pt idx="48">
                  <c:v>48.0</c:v>
                </c:pt>
                <c:pt idx="49">
                  <c:v>49.0</c:v>
                </c:pt>
                <c:pt idx="50">
                  <c:v>50.0</c:v>
                </c:pt>
                <c:pt idx="51">
                  <c:v>51.0</c:v>
                </c:pt>
                <c:pt idx="52">
                  <c:v>52.0</c:v>
                </c:pt>
                <c:pt idx="53">
                  <c:v>53.0</c:v>
                </c:pt>
                <c:pt idx="54">
                  <c:v>54.0</c:v>
                </c:pt>
                <c:pt idx="55">
                  <c:v>55.0</c:v>
                </c:pt>
                <c:pt idx="56">
                  <c:v>56.0</c:v>
                </c:pt>
                <c:pt idx="57">
                  <c:v>57.0</c:v>
                </c:pt>
                <c:pt idx="58">
                  <c:v>58.0</c:v>
                </c:pt>
                <c:pt idx="59">
                  <c:v>59.0</c:v>
                </c:pt>
                <c:pt idx="60">
                  <c:v>60.0</c:v>
                </c:pt>
                <c:pt idx="61">
                  <c:v>61.0</c:v>
                </c:pt>
                <c:pt idx="62">
                  <c:v>62.0</c:v>
                </c:pt>
                <c:pt idx="63">
                  <c:v>63.0</c:v>
                </c:pt>
                <c:pt idx="64">
                  <c:v>64.0</c:v>
                </c:pt>
                <c:pt idx="65">
                  <c:v>65.0</c:v>
                </c:pt>
                <c:pt idx="66">
                  <c:v>66.0</c:v>
                </c:pt>
                <c:pt idx="67">
                  <c:v>67.0</c:v>
                </c:pt>
                <c:pt idx="68">
                  <c:v>68.0</c:v>
                </c:pt>
                <c:pt idx="69">
                  <c:v>69.0</c:v>
                </c:pt>
                <c:pt idx="70">
                  <c:v>70.0</c:v>
                </c:pt>
                <c:pt idx="71">
                  <c:v>71.0</c:v>
                </c:pt>
                <c:pt idx="72">
                  <c:v>72.0</c:v>
                </c:pt>
                <c:pt idx="73">
                  <c:v>73.0</c:v>
                </c:pt>
                <c:pt idx="74">
                  <c:v>74.0</c:v>
                </c:pt>
                <c:pt idx="75">
                  <c:v>75.0</c:v>
                </c:pt>
                <c:pt idx="76">
                  <c:v>76.0</c:v>
                </c:pt>
                <c:pt idx="77">
                  <c:v>77.0</c:v>
                </c:pt>
                <c:pt idx="78">
                  <c:v>78.0</c:v>
                </c:pt>
                <c:pt idx="79">
                  <c:v>79.0</c:v>
                </c:pt>
                <c:pt idx="80">
                  <c:v>80.0</c:v>
                </c:pt>
                <c:pt idx="81">
                  <c:v>81.0</c:v>
                </c:pt>
                <c:pt idx="82">
                  <c:v>82.0</c:v>
                </c:pt>
                <c:pt idx="83">
                  <c:v>83.0</c:v>
                </c:pt>
                <c:pt idx="84">
                  <c:v>84.0</c:v>
                </c:pt>
                <c:pt idx="85">
                  <c:v>85.0</c:v>
                </c:pt>
                <c:pt idx="86">
                  <c:v>86.0</c:v>
                </c:pt>
                <c:pt idx="87">
                  <c:v>87.0</c:v>
                </c:pt>
                <c:pt idx="88">
                  <c:v>88.0</c:v>
                </c:pt>
                <c:pt idx="89">
                  <c:v>89.0</c:v>
                </c:pt>
                <c:pt idx="90">
                  <c:v>90.0</c:v>
                </c:pt>
                <c:pt idx="91">
                  <c:v>91.0</c:v>
                </c:pt>
                <c:pt idx="92">
                  <c:v>92.0</c:v>
                </c:pt>
                <c:pt idx="93">
                  <c:v>93.0</c:v>
                </c:pt>
                <c:pt idx="94">
                  <c:v>94.0</c:v>
                </c:pt>
                <c:pt idx="95">
                  <c:v>95.0</c:v>
                </c:pt>
                <c:pt idx="96">
                  <c:v>96.0</c:v>
                </c:pt>
                <c:pt idx="97">
                  <c:v>97.0</c:v>
                </c:pt>
                <c:pt idx="98">
                  <c:v>98.0</c:v>
                </c:pt>
                <c:pt idx="99">
                  <c:v>99.0</c:v>
                </c:pt>
                <c:pt idx="100">
                  <c:v>100.0</c:v>
                </c:pt>
              </c:numCache>
            </c:numRef>
          </c:cat>
          <c:val>
            <c:numRef>
              <c:f>GainsChart!$E$2:$E$102</c:f>
              <c:numCache>
                <c:formatCode>General</c:formatCode>
                <c:ptCount val="101"/>
                <c:pt idx="0">
                  <c:v>0.0</c:v>
                </c:pt>
                <c:pt idx="1">
                  <c:v>26.01398600000003</c:v>
                </c:pt>
                <c:pt idx="2">
                  <c:v>51.38111900000001</c:v>
                </c:pt>
                <c:pt idx="3">
                  <c:v>72.884615</c:v>
                </c:pt>
                <c:pt idx="4">
                  <c:v>80.384615</c:v>
                </c:pt>
                <c:pt idx="5">
                  <c:v>82.5</c:v>
                </c:pt>
                <c:pt idx="6">
                  <c:v>83.252325</c:v>
                </c:pt>
                <c:pt idx="7">
                  <c:v>84.619309</c:v>
                </c:pt>
                <c:pt idx="8">
                  <c:v>86.69871799999989</c:v>
                </c:pt>
                <c:pt idx="9">
                  <c:v>88.40081</c:v>
                </c:pt>
                <c:pt idx="10">
                  <c:v>89.83805699999998</c:v>
                </c:pt>
                <c:pt idx="11">
                  <c:v>90.515505</c:v>
                </c:pt>
                <c:pt idx="12">
                  <c:v>92.11538499999999</c:v>
                </c:pt>
                <c:pt idx="13">
                  <c:v>92.147628</c:v>
                </c:pt>
                <c:pt idx="14">
                  <c:v>92.307692</c:v>
                </c:pt>
                <c:pt idx="15">
                  <c:v>92.307692</c:v>
                </c:pt>
                <c:pt idx="16">
                  <c:v>92.307692</c:v>
                </c:pt>
                <c:pt idx="17">
                  <c:v>92.307692</c:v>
                </c:pt>
                <c:pt idx="18">
                  <c:v>92.307692</c:v>
                </c:pt>
                <c:pt idx="19">
                  <c:v>92.884615</c:v>
                </c:pt>
                <c:pt idx="20">
                  <c:v>93.02624199999998</c:v>
                </c:pt>
                <c:pt idx="21">
                  <c:v>93.22395799999998</c:v>
                </c:pt>
                <c:pt idx="22">
                  <c:v>93.42307699999998</c:v>
                </c:pt>
                <c:pt idx="23">
                  <c:v>93.62219599999999</c:v>
                </c:pt>
                <c:pt idx="24">
                  <c:v>93.821314</c:v>
                </c:pt>
                <c:pt idx="25">
                  <c:v>94.02043299999985</c:v>
                </c:pt>
                <c:pt idx="26">
                  <c:v>94.219551</c:v>
                </c:pt>
                <c:pt idx="27">
                  <c:v>94.322604</c:v>
                </c:pt>
                <c:pt idx="28">
                  <c:v>94.451718</c:v>
                </c:pt>
                <c:pt idx="29">
                  <c:v>94.58083299999987</c:v>
                </c:pt>
                <c:pt idx="30">
                  <c:v>94.61538499999999</c:v>
                </c:pt>
                <c:pt idx="31">
                  <c:v>94.61538499999999</c:v>
                </c:pt>
                <c:pt idx="32">
                  <c:v>95.22267199999999</c:v>
                </c:pt>
                <c:pt idx="33">
                  <c:v>95.384615</c:v>
                </c:pt>
                <c:pt idx="34">
                  <c:v>95.537498</c:v>
                </c:pt>
                <c:pt idx="35">
                  <c:v>95.70843899999987</c:v>
                </c:pt>
                <c:pt idx="36">
                  <c:v>95.87937899999982</c:v>
                </c:pt>
                <c:pt idx="37">
                  <c:v>96.050319</c:v>
                </c:pt>
                <c:pt idx="38">
                  <c:v>96.15384599999996</c:v>
                </c:pt>
                <c:pt idx="39">
                  <c:v>96.15384599999996</c:v>
                </c:pt>
                <c:pt idx="40">
                  <c:v>96.169455</c:v>
                </c:pt>
                <c:pt idx="41">
                  <c:v>96.28528799999998</c:v>
                </c:pt>
                <c:pt idx="42">
                  <c:v>96.401942</c:v>
                </c:pt>
                <c:pt idx="43">
                  <c:v>96.518596</c:v>
                </c:pt>
                <c:pt idx="44">
                  <c:v>96.63525</c:v>
                </c:pt>
                <c:pt idx="45">
                  <c:v>96.751904</c:v>
                </c:pt>
                <c:pt idx="46">
                  <c:v>96.868559</c:v>
                </c:pt>
                <c:pt idx="47">
                  <c:v>96.98521300000012</c:v>
                </c:pt>
                <c:pt idx="48">
                  <c:v>97.101867</c:v>
                </c:pt>
                <c:pt idx="49">
                  <c:v>97.218521</c:v>
                </c:pt>
                <c:pt idx="50">
                  <c:v>97.33517599999992</c:v>
                </c:pt>
                <c:pt idx="51">
                  <c:v>97.45183</c:v>
                </c:pt>
                <c:pt idx="52">
                  <c:v>97.568484</c:v>
                </c:pt>
                <c:pt idx="53">
                  <c:v>97.6851379999998</c:v>
                </c:pt>
                <c:pt idx="54">
                  <c:v>97.80179199999998</c:v>
                </c:pt>
                <c:pt idx="55">
                  <c:v>97.918447</c:v>
                </c:pt>
                <c:pt idx="56">
                  <c:v>98.03510099999998</c:v>
                </c:pt>
                <c:pt idx="57">
                  <c:v>98.15175499999998</c:v>
                </c:pt>
                <c:pt idx="58">
                  <c:v>98.268409</c:v>
                </c:pt>
                <c:pt idx="59">
                  <c:v>98.269231</c:v>
                </c:pt>
                <c:pt idx="60">
                  <c:v>98.269231</c:v>
                </c:pt>
                <c:pt idx="61">
                  <c:v>98.269231</c:v>
                </c:pt>
                <c:pt idx="62">
                  <c:v>98.269231</c:v>
                </c:pt>
                <c:pt idx="63">
                  <c:v>98.269231</c:v>
                </c:pt>
                <c:pt idx="64">
                  <c:v>98.269231</c:v>
                </c:pt>
                <c:pt idx="65">
                  <c:v>98.36729500000002</c:v>
                </c:pt>
                <c:pt idx="66">
                  <c:v>98.4823789999998</c:v>
                </c:pt>
                <c:pt idx="67">
                  <c:v>98.597462</c:v>
                </c:pt>
                <c:pt idx="68">
                  <c:v>98.712546</c:v>
                </c:pt>
                <c:pt idx="69">
                  <c:v>98.82762900000012</c:v>
                </c:pt>
                <c:pt idx="70">
                  <c:v>98.942713</c:v>
                </c:pt>
                <c:pt idx="71">
                  <c:v>99.05779699999998</c:v>
                </c:pt>
                <c:pt idx="72">
                  <c:v>99.17287999999981</c:v>
                </c:pt>
                <c:pt idx="73">
                  <c:v>99.28796400000014</c:v>
                </c:pt>
                <c:pt idx="74">
                  <c:v>99.403047</c:v>
                </c:pt>
                <c:pt idx="75">
                  <c:v>99.51813099999998</c:v>
                </c:pt>
                <c:pt idx="76">
                  <c:v>99.61538499999999</c:v>
                </c:pt>
                <c:pt idx="77">
                  <c:v>99.61538499999999</c:v>
                </c:pt>
                <c:pt idx="78">
                  <c:v>99.61538499999999</c:v>
                </c:pt>
                <c:pt idx="79">
                  <c:v>99.61538499999999</c:v>
                </c:pt>
                <c:pt idx="80">
                  <c:v>99.61538499999999</c:v>
                </c:pt>
                <c:pt idx="81">
                  <c:v>99.62207899999977</c:v>
                </c:pt>
                <c:pt idx="82">
                  <c:v>99.70849599999998</c:v>
                </c:pt>
                <c:pt idx="83">
                  <c:v>99.794912</c:v>
                </c:pt>
                <c:pt idx="84">
                  <c:v>99.88132899999998</c:v>
                </c:pt>
                <c:pt idx="85">
                  <c:v>99.967746</c:v>
                </c:pt>
                <c:pt idx="86">
                  <c:v>100.0</c:v>
                </c:pt>
                <c:pt idx="87">
                  <c:v>100.0</c:v>
                </c:pt>
                <c:pt idx="88">
                  <c:v>100.0</c:v>
                </c:pt>
                <c:pt idx="89">
                  <c:v>100.0</c:v>
                </c:pt>
                <c:pt idx="90">
                  <c:v>100.0</c:v>
                </c:pt>
                <c:pt idx="91">
                  <c:v>100.0</c:v>
                </c:pt>
                <c:pt idx="92">
                  <c:v>100.0</c:v>
                </c:pt>
                <c:pt idx="93">
                  <c:v>100.0</c:v>
                </c:pt>
                <c:pt idx="94">
                  <c:v>100.0</c:v>
                </c:pt>
                <c:pt idx="95">
                  <c:v>100.0</c:v>
                </c:pt>
                <c:pt idx="96">
                  <c:v>100.0</c:v>
                </c:pt>
                <c:pt idx="97">
                  <c:v>100.0</c:v>
                </c:pt>
                <c:pt idx="98">
                  <c:v>100.0</c:v>
                </c:pt>
                <c:pt idx="99">
                  <c:v>100.0</c:v>
                </c:pt>
                <c:pt idx="100">
                  <c:v>100.0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GainsChart!$C$1</c:f>
              <c:strCache>
                <c:ptCount val="1"/>
                <c:pt idx="0">
                  <c:v>Perfect Model</c:v>
                </c:pt>
              </c:strCache>
            </c:strRef>
          </c:tx>
          <c:marker>
            <c:symbol val="none"/>
          </c:marker>
          <c:val>
            <c:numRef>
              <c:f>GainsChart!$C$2:$C$102</c:f>
              <c:numCache>
                <c:formatCode>General</c:formatCode>
                <c:ptCount val="101"/>
                <c:pt idx="0">
                  <c:v>0.0</c:v>
                </c:pt>
                <c:pt idx="1">
                  <c:v>27.783251</c:v>
                </c:pt>
                <c:pt idx="2">
                  <c:v>55.66502500000005</c:v>
                </c:pt>
                <c:pt idx="3">
                  <c:v>83.448276</c:v>
                </c:pt>
                <c:pt idx="4">
                  <c:v>100.0</c:v>
                </c:pt>
                <c:pt idx="5">
                  <c:v>100.0</c:v>
                </c:pt>
                <c:pt idx="6">
                  <c:v>100.0</c:v>
                </c:pt>
                <c:pt idx="7">
                  <c:v>100.0</c:v>
                </c:pt>
                <c:pt idx="8">
                  <c:v>100.0</c:v>
                </c:pt>
                <c:pt idx="9">
                  <c:v>100.0</c:v>
                </c:pt>
                <c:pt idx="10">
                  <c:v>100.0</c:v>
                </c:pt>
                <c:pt idx="11">
                  <c:v>100.0</c:v>
                </c:pt>
                <c:pt idx="12">
                  <c:v>100.0</c:v>
                </c:pt>
                <c:pt idx="13">
                  <c:v>100.0</c:v>
                </c:pt>
                <c:pt idx="14">
                  <c:v>100.0</c:v>
                </c:pt>
                <c:pt idx="15">
                  <c:v>100.0</c:v>
                </c:pt>
                <c:pt idx="16">
                  <c:v>100.0</c:v>
                </c:pt>
                <c:pt idx="17">
                  <c:v>100.0</c:v>
                </c:pt>
                <c:pt idx="18">
                  <c:v>100.0</c:v>
                </c:pt>
                <c:pt idx="19">
                  <c:v>100.0</c:v>
                </c:pt>
                <c:pt idx="20">
                  <c:v>100.0</c:v>
                </c:pt>
                <c:pt idx="21">
                  <c:v>100.0</c:v>
                </c:pt>
                <c:pt idx="22">
                  <c:v>100.0</c:v>
                </c:pt>
                <c:pt idx="23">
                  <c:v>100.0</c:v>
                </c:pt>
                <c:pt idx="24">
                  <c:v>100.0</c:v>
                </c:pt>
                <c:pt idx="25">
                  <c:v>100.0</c:v>
                </c:pt>
                <c:pt idx="26">
                  <c:v>100.0</c:v>
                </c:pt>
                <c:pt idx="27">
                  <c:v>100.0</c:v>
                </c:pt>
                <c:pt idx="28">
                  <c:v>100.0</c:v>
                </c:pt>
                <c:pt idx="29">
                  <c:v>100.0</c:v>
                </c:pt>
                <c:pt idx="30">
                  <c:v>100.0</c:v>
                </c:pt>
                <c:pt idx="31">
                  <c:v>100.0</c:v>
                </c:pt>
                <c:pt idx="32">
                  <c:v>100.0</c:v>
                </c:pt>
                <c:pt idx="33">
                  <c:v>100.0</c:v>
                </c:pt>
                <c:pt idx="34">
                  <c:v>100.0</c:v>
                </c:pt>
                <c:pt idx="35">
                  <c:v>100.0</c:v>
                </c:pt>
                <c:pt idx="36">
                  <c:v>100.0</c:v>
                </c:pt>
                <c:pt idx="37">
                  <c:v>100.0</c:v>
                </c:pt>
                <c:pt idx="38">
                  <c:v>100.0</c:v>
                </c:pt>
                <c:pt idx="39">
                  <c:v>100.0</c:v>
                </c:pt>
                <c:pt idx="40">
                  <c:v>100.0</c:v>
                </c:pt>
                <c:pt idx="41">
                  <c:v>100.0</c:v>
                </c:pt>
                <c:pt idx="42">
                  <c:v>100.0</c:v>
                </c:pt>
                <c:pt idx="43">
                  <c:v>100.0</c:v>
                </c:pt>
                <c:pt idx="44">
                  <c:v>100.0</c:v>
                </c:pt>
                <c:pt idx="45">
                  <c:v>100.0</c:v>
                </c:pt>
                <c:pt idx="46">
                  <c:v>100.0</c:v>
                </c:pt>
                <c:pt idx="47">
                  <c:v>100.0</c:v>
                </c:pt>
                <c:pt idx="48">
                  <c:v>100.0</c:v>
                </c:pt>
                <c:pt idx="49">
                  <c:v>100.0</c:v>
                </c:pt>
                <c:pt idx="50">
                  <c:v>100.0</c:v>
                </c:pt>
                <c:pt idx="51">
                  <c:v>100.0</c:v>
                </c:pt>
                <c:pt idx="52">
                  <c:v>100.0</c:v>
                </c:pt>
                <c:pt idx="53">
                  <c:v>100.0</c:v>
                </c:pt>
                <c:pt idx="54">
                  <c:v>100.0</c:v>
                </c:pt>
                <c:pt idx="55">
                  <c:v>100.0</c:v>
                </c:pt>
                <c:pt idx="56">
                  <c:v>100.0</c:v>
                </c:pt>
                <c:pt idx="57">
                  <c:v>100.0</c:v>
                </c:pt>
                <c:pt idx="58">
                  <c:v>100.0</c:v>
                </c:pt>
                <c:pt idx="59">
                  <c:v>100.0</c:v>
                </c:pt>
                <c:pt idx="60">
                  <c:v>100.0</c:v>
                </c:pt>
                <c:pt idx="61">
                  <c:v>100.0</c:v>
                </c:pt>
                <c:pt idx="62">
                  <c:v>100.0</c:v>
                </c:pt>
                <c:pt idx="63">
                  <c:v>100.0</c:v>
                </c:pt>
                <c:pt idx="64">
                  <c:v>100.0</c:v>
                </c:pt>
                <c:pt idx="65">
                  <c:v>100.0</c:v>
                </c:pt>
                <c:pt idx="66">
                  <c:v>100.0</c:v>
                </c:pt>
                <c:pt idx="67">
                  <c:v>100.0</c:v>
                </c:pt>
                <c:pt idx="68">
                  <c:v>100.0</c:v>
                </c:pt>
                <c:pt idx="69">
                  <c:v>100.0</c:v>
                </c:pt>
                <c:pt idx="70">
                  <c:v>100.0</c:v>
                </c:pt>
                <c:pt idx="71">
                  <c:v>100.0</c:v>
                </c:pt>
                <c:pt idx="72">
                  <c:v>100.0</c:v>
                </c:pt>
                <c:pt idx="73">
                  <c:v>100.0</c:v>
                </c:pt>
                <c:pt idx="74">
                  <c:v>100.0</c:v>
                </c:pt>
                <c:pt idx="75">
                  <c:v>100.0</c:v>
                </c:pt>
                <c:pt idx="76">
                  <c:v>100.0</c:v>
                </c:pt>
                <c:pt idx="77">
                  <c:v>100.0</c:v>
                </c:pt>
                <c:pt idx="78">
                  <c:v>100.0</c:v>
                </c:pt>
                <c:pt idx="79">
                  <c:v>100.0</c:v>
                </c:pt>
                <c:pt idx="80">
                  <c:v>100.0</c:v>
                </c:pt>
                <c:pt idx="81">
                  <c:v>100.0</c:v>
                </c:pt>
                <c:pt idx="82">
                  <c:v>100.0</c:v>
                </c:pt>
                <c:pt idx="83">
                  <c:v>100.0</c:v>
                </c:pt>
                <c:pt idx="84">
                  <c:v>100.0</c:v>
                </c:pt>
                <c:pt idx="85">
                  <c:v>100.0</c:v>
                </c:pt>
                <c:pt idx="86">
                  <c:v>100.0</c:v>
                </c:pt>
                <c:pt idx="87">
                  <c:v>100.0</c:v>
                </c:pt>
                <c:pt idx="88">
                  <c:v>100.0</c:v>
                </c:pt>
                <c:pt idx="89">
                  <c:v>100.0</c:v>
                </c:pt>
                <c:pt idx="90">
                  <c:v>100.0</c:v>
                </c:pt>
                <c:pt idx="91">
                  <c:v>100.0</c:v>
                </c:pt>
                <c:pt idx="92">
                  <c:v>100.0</c:v>
                </c:pt>
                <c:pt idx="93">
                  <c:v>100.0</c:v>
                </c:pt>
                <c:pt idx="94">
                  <c:v>100.0</c:v>
                </c:pt>
                <c:pt idx="95">
                  <c:v>100.0</c:v>
                </c:pt>
                <c:pt idx="96">
                  <c:v>100.0</c:v>
                </c:pt>
                <c:pt idx="97">
                  <c:v>100.0</c:v>
                </c:pt>
                <c:pt idx="98">
                  <c:v>100.0</c:v>
                </c:pt>
                <c:pt idx="99">
                  <c:v>100.0</c:v>
                </c:pt>
                <c:pt idx="100">
                  <c:v>100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31518392"/>
        <c:axId val="2126789496"/>
      </c:lineChart>
      <c:catAx>
        <c:axId val="21315183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126789496"/>
        <c:crossesAt val="0.0"/>
        <c:auto val="1"/>
        <c:lblAlgn val="ctr"/>
        <c:lblOffset val="100"/>
        <c:tickLblSkip val="10"/>
        <c:tickMarkSkip val="5"/>
        <c:noMultiLvlLbl val="0"/>
      </c:catAx>
      <c:valAx>
        <c:axId val="2126789496"/>
        <c:scaling>
          <c:orientation val="minMax"/>
          <c:max val="100.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2131518392"/>
        <c:crossesAt val="1.0"/>
        <c:crossBetween val="between"/>
      </c:valAx>
    </c:plotArea>
    <c:legend>
      <c:legendPos val="r"/>
      <c:legendEntry>
        <c:idx val="0"/>
        <c:delete val="1"/>
      </c:legendEntry>
      <c:overlay val="0"/>
      <c:txPr>
        <a:bodyPr/>
        <a:lstStyle/>
        <a:p>
          <a:pPr>
            <a:defRPr sz="2000"/>
          </a:pPr>
          <a:endParaRPr lang="en-US"/>
        </a:p>
      </c:txPr>
    </c:legend>
    <c:plotVisOnly val="1"/>
    <c:dispBlanksAs val="gap"/>
    <c:showDLblsOverMax val="0"/>
  </c:chart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D990548-488F-4838-93E7-C825AF7FB468}" type="doc">
      <dgm:prSet loTypeId="urn:microsoft.com/office/officeart/2009/layout/CirclePictureHierarchy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2FB4099-C8CB-4B1A-B65C-443F11E7489F}">
      <dgm:prSet phldrT="[Text]"/>
      <dgm:spPr/>
      <dgm:t>
        <a:bodyPr/>
        <a:lstStyle/>
        <a:p>
          <a:r>
            <a:rPr lang="de-DE" dirty="0" smtClean="0"/>
            <a:t>Engine temperature high daily pct &lt;=0.222</a:t>
          </a:r>
          <a:endParaRPr lang="en-US" dirty="0"/>
        </a:p>
      </dgm:t>
    </dgm:pt>
    <dgm:pt modelId="{B0F7E6BE-A493-4A04-A9AD-D7C270657DC5}" type="parTrans" cxnId="{EB3C7633-6FEE-4951-81C3-C1C591D73D40}">
      <dgm:prSet/>
      <dgm:spPr/>
      <dgm:t>
        <a:bodyPr/>
        <a:lstStyle/>
        <a:p>
          <a:endParaRPr lang="en-US"/>
        </a:p>
      </dgm:t>
    </dgm:pt>
    <dgm:pt modelId="{E97F3F70-B5FF-411E-8A9F-FF9AE034EC58}" type="sibTrans" cxnId="{EB3C7633-6FEE-4951-81C3-C1C591D73D40}">
      <dgm:prSet/>
      <dgm:spPr/>
      <dgm:t>
        <a:bodyPr/>
        <a:lstStyle/>
        <a:p>
          <a:endParaRPr lang="en-US"/>
        </a:p>
      </dgm:t>
    </dgm:pt>
    <dgm:pt modelId="{35264909-D74D-4EDC-B112-1FAAE7EFC41E}">
      <dgm:prSet phldrT="[Text]"/>
      <dgm:spPr/>
      <dgm:t>
        <a:bodyPr/>
        <a:lstStyle/>
        <a:p>
          <a:r>
            <a:rPr lang="de-DE" dirty="0" smtClean="0"/>
            <a:t>Coolant temperature high daily pct &lt;=0.204</a:t>
          </a:r>
          <a:endParaRPr lang="en-US" dirty="0"/>
        </a:p>
      </dgm:t>
    </dgm:pt>
    <dgm:pt modelId="{F84951AD-39BD-46E7-8341-F979E5BC53F6}" type="parTrans" cxnId="{4A10020A-D442-429A-9813-A408294C9968}">
      <dgm:prSet/>
      <dgm:spPr/>
      <dgm:t>
        <a:bodyPr/>
        <a:lstStyle/>
        <a:p>
          <a:endParaRPr lang="en-US"/>
        </a:p>
      </dgm:t>
    </dgm:pt>
    <dgm:pt modelId="{05BF2A93-09AA-4BB9-8C42-7551B423E2D7}" type="sibTrans" cxnId="{4A10020A-D442-429A-9813-A408294C9968}">
      <dgm:prSet/>
      <dgm:spPr/>
      <dgm:t>
        <a:bodyPr/>
        <a:lstStyle/>
        <a:p>
          <a:endParaRPr lang="en-US"/>
        </a:p>
      </dgm:t>
    </dgm:pt>
    <dgm:pt modelId="{CDACFFC8-7E94-45C0-B88D-E58EFA629FC4}">
      <dgm:prSet phldrT="[Text]"/>
      <dgm:spPr/>
      <dgm:t>
        <a:bodyPr/>
        <a:lstStyle/>
        <a:p>
          <a:r>
            <a:rPr lang="de-DE" dirty="0" smtClean="0"/>
            <a:t>Gear Power output low daily percentage &lt;=0.44</a:t>
          </a:r>
          <a:endParaRPr lang="en-US" dirty="0"/>
        </a:p>
      </dgm:t>
    </dgm:pt>
    <dgm:pt modelId="{54D062DB-F00C-4803-82C8-4A8F85F49093}" type="parTrans" cxnId="{4FFB3E37-815E-4A63-93AB-9FC182DB8750}">
      <dgm:prSet/>
      <dgm:spPr/>
      <dgm:t>
        <a:bodyPr/>
        <a:lstStyle/>
        <a:p>
          <a:endParaRPr lang="en-US"/>
        </a:p>
      </dgm:t>
    </dgm:pt>
    <dgm:pt modelId="{76372F04-9EEA-4CB6-9DB0-E653683D2C0A}" type="sibTrans" cxnId="{4FFB3E37-815E-4A63-93AB-9FC182DB8750}">
      <dgm:prSet/>
      <dgm:spPr/>
      <dgm:t>
        <a:bodyPr/>
        <a:lstStyle/>
        <a:p>
          <a:endParaRPr lang="en-US"/>
        </a:p>
      </dgm:t>
    </dgm:pt>
    <dgm:pt modelId="{B03ECFF9-F4EE-4934-908F-8E164815BF88}">
      <dgm:prSet phldrT="[Text]"/>
      <dgm:spPr/>
      <dgm:t>
        <a:bodyPr/>
        <a:lstStyle/>
        <a:p>
          <a:r>
            <a:rPr lang="de-DE" dirty="0" smtClean="0"/>
            <a:t> Gear Oil Temp high daily percentage    &lt;= 0.256</a:t>
          </a:r>
          <a:endParaRPr lang="en-US" dirty="0"/>
        </a:p>
      </dgm:t>
    </dgm:pt>
    <dgm:pt modelId="{660BF16F-DACB-4164-8BF2-E2D96361E053}" type="parTrans" cxnId="{AD6FC6F9-48BF-489A-9A90-F00FFCE90F6A}">
      <dgm:prSet/>
      <dgm:spPr/>
      <dgm:t>
        <a:bodyPr/>
        <a:lstStyle/>
        <a:p>
          <a:endParaRPr lang="en-US"/>
        </a:p>
      </dgm:t>
    </dgm:pt>
    <dgm:pt modelId="{896ACF35-CAAD-411F-9483-AC41A23A39C0}" type="sibTrans" cxnId="{AD6FC6F9-48BF-489A-9A90-F00FFCE90F6A}">
      <dgm:prSet/>
      <dgm:spPr/>
      <dgm:t>
        <a:bodyPr/>
        <a:lstStyle/>
        <a:p>
          <a:endParaRPr lang="en-US"/>
        </a:p>
      </dgm:t>
    </dgm:pt>
    <dgm:pt modelId="{308078F6-FF3F-45A9-A259-5BCF823D8172}">
      <dgm:prSet phldrT="[Text]"/>
      <dgm:spPr/>
      <dgm:t>
        <a:bodyPr/>
        <a:lstStyle/>
        <a:p>
          <a:r>
            <a:rPr lang="de-DE" dirty="0" smtClean="0"/>
            <a:t>Gear Power output low daily percentage &lt;=0.628</a:t>
          </a:r>
          <a:endParaRPr lang="en-US" dirty="0"/>
        </a:p>
      </dgm:t>
    </dgm:pt>
    <dgm:pt modelId="{58CAB926-9E30-4799-B6BD-AA38737D1F86}" type="parTrans" cxnId="{FB96E8A4-50C3-4E76-89EA-83376248FD13}">
      <dgm:prSet/>
      <dgm:spPr/>
      <dgm:t>
        <a:bodyPr/>
        <a:lstStyle/>
        <a:p>
          <a:endParaRPr lang="en-US"/>
        </a:p>
      </dgm:t>
    </dgm:pt>
    <dgm:pt modelId="{53B73B08-C4BF-4020-AFE9-2E2254439A7E}" type="sibTrans" cxnId="{FB96E8A4-50C3-4E76-89EA-83376248FD13}">
      <dgm:prSet/>
      <dgm:spPr/>
      <dgm:t>
        <a:bodyPr/>
        <a:lstStyle/>
        <a:p>
          <a:endParaRPr lang="en-US"/>
        </a:p>
      </dgm:t>
    </dgm:pt>
    <dgm:pt modelId="{C90A8E79-2C8B-44B1-89AE-2BFF85A726B2}">
      <dgm:prSet phldrT="[Text]"/>
      <dgm:spPr/>
      <dgm:t>
        <a:bodyPr/>
        <a:lstStyle/>
        <a:p>
          <a:r>
            <a:rPr lang="de-DE" dirty="0" smtClean="0"/>
            <a:t> </a:t>
          </a:r>
          <a:endParaRPr lang="en-US" dirty="0"/>
        </a:p>
      </dgm:t>
    </dgm:pt>
    <dgm:pt modelId="{0F35DABA-3D8A-4DFC-9E4B-047D760F4158}" type="parTrans" cxnId="{DF774E58-4011-4874-9A9D-D8DB1F883751}">
      <dgm:prSet/>
      <dgm:spPr/>
      <dgm:t>
        <a:bodyPr/>
        <a:lstStyle/>
        <a:p>
          <a:endParaRPr lang="en-US"/>
        </a:p>
      </dgm:t>
    </dgm:pt>
    <dgm:pt modelId="{021C92D9-D84A-4173-B19A-0149C5D24E1E}" type="sibTrans" cxnId="{DF774E58-4011-4874-9A9D-D8DB1F883751}">
      <dgm:prSet/>
      <dgm:spPr/>
      <dgm:t>
        <a:bodyPr/>
        <a:lstStyle/>
        <a:p>
          <a:endParaRPr lang="en-US"/>
        </a:p>
      </dgm:t>
    </dgm:pt>
    <dgm:pt modelId="{27A52BC5-6825-420D-B536-816FC07A64C5}">
      <dgm:prSet phldrT="[Text]"/>
      <dgm:spPr/>
      <dgm:t>
        <a:bodyPr/>
        <a:lstStyle/>
        <a:p>
          <a:endParaRPr lang="en-US" dirty="0"/>
        </a:p>
      </dgm:t>
    </dgm:pt>
    <dgm:pt modelId="{D7A3E7DB-A015-486C-B1AA-FB9F31D66C88}" type="parTrans" cxnId="{B63FE192-5110-44EE-81E7-4C5171801383}">
      <dgm:prSet/>
      <dgm:spPr/>
      <dgm:t>
        <a:bodyPr/>
        <a:lstStyle/>
        <a:p>
          <a:endParaRPr lang="en-US"/>
        </a:p>
      </dgm:t>
    </dgm:pt>
    <dgm:pt modelId="{89FF2B4A-D176-4684-B4FE-08A947961A88}" type="sibTrans" cxnId="{B63FE192-5110-44EE-81E7-4C5171801383}">
      <dgm:prSet/>
      <dgm:spPr/>
      <dgm:t>
        <a:bodyPr/>
        <a:lstStyle/>
        <a:p>
          <a:endParaRPr lang="en-US"/>
        </a:p>
      </dgm:t>
    </dgm:pt>
    <dgm:pt modelId="{1280E3DA-BF55-4052-BD6B-C0F9A16E93BC}" type="pres">
      <dgm:prSet presAssocID="{FD990548-488F-4838-93E7-C825AF7FB468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BE3DEFE4-48C8-4F91-AB6A-BDBC86099481}" type="pres">
      <dgm:prSet presAssocID="{F2FB4099-C8CB-4B1A-B65C-443F11E7489F}" presName="hierRoot1" presStyleCnt="0"/>
      <dgm:spPr/>
    </dgm:pt>
    <dgm:pt modelId="{7AA761DE-37C4-4054-B1CC-18E26457A060}" type="pres">
      <dgm:prSet presAssocID="{F2FB4099-C8CB-4B1A-B65C-443F11E7489F}" presName="composite" presStyleCnt="0"/>
      <dgm:spPr/>
    </dgm:pt>
    <dgm:pt modelId="{E27118C5-C840-4584-A1C2-DFC69F9BBBD3}" type="pres">
      <dgm:prSet presAssocID="{F2FB4099-C8CB-4B1A-B65C-443F11E7489F}" presName="image" presStyleLbl="node0" presStyleIdx="0" presStyleCnt="1" custScaleX="151871"/>
      <dgm:spPr>
        <a:prstGeom prst="roundRect">
          <a:avLst/>
        </a:prstGeom>
      </dgm:spPr>
    </dgm:pt>
    <dgm:pt modelId="{2C170949-9E4A-4702-B6EF-9ED2898DBC50}" type="pres">
      <dgm:prSet presAssocID="{F2FB4099-C8CB-4B1A-B65C-443F11E7489F}" presName="text" presStyleLbl="revTx" presStyleIdx="0" presStyleCnt="7" custLinFactNeighborX="1852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0E32ABF-7D09-4B81-AF26-9FA2FF564E5F}" type="pres">
      <dgm:prSet presAssocID="{F2FB4099-C8CB-4B1A-B65C-443F11E7489F}" presName="hierChild2" presStyleCnt="0"/>
      <dgm:spPr/>
    </dgm:pt>
    <dgm:pt modelId="{EBAF4BD4-603F-4B23-901B-F619FAB96B36}" type="pres">
      <dgm:prSet presAssocID="{F84951AD-39BD-46E7-8341-F979E5BC53F6}" presName="Name10" presStyleLbl="parChTrans1D2" presStyleIdx="0" presStyleCnt="2"/>
      <dgm:spPr/>
      <dgm:t>
        <a:bodyPr/>
        <a:lstStyle/>
        <a:p>
          <a:endParaRPr lang="en-US"/>
        </a:p>
      </dgm:t>
    </dgm:pt>
    <dgm:pt modelId="{A063B1BA-C891-4E74-BE40-93E00C4E4080}" type="pres">
      <dgm:prSet presAssocID="{35264909-D74D-4EDC-B112-1FAAE7EFC41E}" presName="hierRoot2" presStyleCnt="0"/>
      <dgm:spPr/>
    </dgm:pt>
    <dgm:pt modelId="{ABB9408C-29D5-4E3F-B454-EE82B263CC4B}" type="pres">
      <dgm:prSet presAssocID="{35264909-D74D-4EDC-B112-1FAAE7EFC41E}" presName="composite2" presStyleCnt="0"/>
      <dgm:spPr/>
    </dgm:pt>
    <dgm:pt modelId="{B16F5681-5EFD-4AD8-9547-0D085BBD3319}" type="pres">
      <dgm:prSet presAssocID="{35264909-D74D-4EDC-B112-1FAAE7EFC41E}" presName="image2" presStyleLbl="node2" presStyleIdx="0" presStyleCnt="2" custScaleX="139747"/>
      <dgm:spPr>
        <a:prstGeom prst="roundRect">
          <a:avLst/>
        </a:prstGeom>
      </dgm:spPr>
    </dgm:pt>
    <dgm:pt modelId="{DF9E918C-02F8-456D-B05E-84CA9DBADA62}" type="pres">
      <dgm:prSet presAssocID="{35264909-D74D-4EDC-B112-1FAAE7EFC41E}" presName="text2" presStyleLbl="revTx" presStyleIdx="1" presStyleCnt="7" custLinFactNeighborX="974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989364A-60D3-4E70-8124-6C5DFA508B63}" type="pres">
      <dgm:prSet presAssocID="{35264909-D74D-4EDC-B112-1FAAE7EFC41E}" presName="hierChild3" presStyleCnt="0"/>
      <dgm:spPr/>
    </dgm:pt>
    <dgm:pt modelId="{C747F7CC-BDD0-4D07-9A4B-385FB250ADC2}" type="pres">
      <dgm:prSet presAssocID="{54D062DB-F00C-4803-82C8-4A8F85F49093}" presName="Name17" presStyleLbl="parChTrans1D3" presStyleIdx="0" presStyleCnt="4"/>
      <dgm:spPr/>
      <dgm:t>
        <a:bodyPr/>
        <a:lstStyle/>
        <a:p>
          <a:endParaRPr lang="en-US"/>
        </a:p>
      </dgm:t>
    </dgm:pt>
    <dgm:pt modelId="{9390D5EE-D8F5-43A5-81C4-2DF69BD19C44}" type="pres">
      <dgm:prSet presAssocID="{CDACFFC8-7E94-45C0-B88D-E58EFA629FC4}" presName="hierRoot3" presStyleCnt="0"/>
      <dgm:spPr/>
    </dgm:pt>
    <dgm:pt modelId="{58A58DD0-A13B-405E-8008-8306DD600D4B}" type="pres">
      <dgm:prSet presAssocID="{CDACFFC8-7E94-45C0-B88D-E58EFA629FC4}" presName="composite3" presStyleCnt="0"/>
      <dgm:spPr/>
    </dgm:pt>
    <dgm:pt modelId="{D013AD80-5E3C-475D-B727-87917044D2B5}" type="pres">
      <dgm:prSet presAssocID="{CDACFFC8-7E94-45C0-B88D-E58EFA629FC4}" presName="image3" presStyleLbl="node3" presStyleIdx="0" presStyleCnt="4" custScaleX="142899"/>
      <dgm:spPr>
        <a:prstGeom prst="roundRect">
          <a:avLst/>
        </a:prstGeom>
      </dgm:spPr>
    </dgm:pt>
    <dgm:pt modelId="{81FBF99C-9828-4DF1-B2FE-0A8BD1DDCB26}" type="pres">
      <dgm:prSet presAssocID="{CDACFFC8-7E94-45C0-B88D-E58EFA629FC4}" presName="text3" presStyleLbl="revTx" presStyleIdx="2" presStyleCnt="7" custLinFactNeighborX="1461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750C7CD-BC35-4AA4-AF0A-46B30FB4428C}" type="pres">
      <dgm:prSet presAssocID="{CDACFFC8-7E94-45C0-B88D-E58EFA629FC4}" presName="hierChild4" presStyleCnt="0"/>
      <dgm:spPr/>
    </dgm:pt>
    <dgm:pt modelId="{6EAEFBC7-E283-4157-BF64-5779EC3D3415}" type="pres">
      <dgm:prSet presAssocID="{660BF16F-DACB-4164-8BF2-E2D96361E053}" presName="Name17" presStyleLbl="parChTrans1D3" presStyleIdx="1" presStyleCnt="4"/>
      <dgm:spPr/>
      <dgm:t>
        <a:bodyPr/>
        <a:lstStyle/>
        <a:p>
          <a:endParaRPr lang="en-US"/>
        </a:p>
      </dgm:t>
    </dgm:pt>
    <dgm:pt modelId="{CF3B2654-FD20-4DDF-A6BE-29F8DCA40087}" type="pres">
      <dgm:prSet presAssocID="{B03ECFF9-F4EE-4934-908F-8E164815BF88}" presName="hierRoot3" presStyleCnt="0"/>
      <dgm:spPr/>
    </dgm:pt>
    <dgm:pt modelId="{C3547DF6-21FE-41AB-BA6C-3AF65A7BA385}" type="pres">
      <dgm:prSet presAssocID="{B03ECFF9-F4EE-4934-908F-8E164815BF88}" presName="composite3" presStyleCnt="0"/>
      <dgm:spPr/>
    </dgm:pt>
    <dgm:pt modelId="{97635782-6BEA-44F0-B996-EAFEC38ED061}" type="pres">
      <dgm:prSet presAssocID="{B03ECFF9-F4EE-4934-908F-8E164815BF88}" presName="image3" presStyleLbl="node3" presStyleIdx="1" presStyleCnt="4" custScaleX="144923"/>
      <dgm:spPr>
        <a:prstGeom prst="roundRect">
          <a:avLst/>
        </a:prstGeom>
      </dgm:spPr>
    </dgm:pt>
    <dgm:pt modelId="{5F0FF03A-B0BE-4C3B-AF69-24C91BA233E4}" type="pres">
      <dgm:prSet presAssocID="{B03ECFF9-F4EE-4934-908F-8E164815BF88}" presName="text3" presStyleLbl="revTx" presStyleIdx="3" presStyleCnt="7" custLinFactNeighborX="1517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188E27E-35FC-4E55-85DD-C113993B3333}" type="pres">
      <dgm:prSet presAssocID="{B03ECFF9-F4EE-4934-908F-8E164815BF88}" presName="hierChild4" presStyleCnt="0"/>
      <dgm:spPr/>
    </dgm:pt>
    <dgm:pt modelId="{F5FF61F0-7B6A-41A8-B9A7-09B26062F818}" type="pres">
      <dgm:prSet presAssocID="{58CAB926-9E30-4799-B6BD-AA38737D1F86}" presName="Name10" presStyleLbl="parChTrans1D2" presStyleIdx="1" presStyleCnt="2"/>
      <dgm:spPr/>
      <dgm:t>
        <a:bodyPr/>
        <a:lstStyle/>
        <a:p>
          <a:endParaRPr lang="en-US"/>
        </a:p>
      </dgm:t>
    </dgm:pt>
    <dgm:pt modelId="{C1DDC779-50CC-43B1-B321-31EE723F44E3}" type="pres">
      <dgm:prSet presAssocID="{308078F6-FF3F-45A9-A259-5BCF823D8172}" presName="hierRoot2" presStyleCnt="0"/>
      <dgm:spPr/>
    </dgm:pt>
    <dgm:pt modelId="{58D91033-29F4-4CF7-94DA-61FD285152B4}" type="pres">
      <dgm:prSet presAssocID="{308078F6-FF3F-45A9-A259-5BCF823D8172}" presName="composite2" presStyleCnt="0"/>
      <dgm:spPr/>
    </dgm:pt>
    <dgm:pt modelId="{F4A3EF1A-3B5F-4F56-8EFD-D02DB740D62C}" type="pres">
      <dgm:prSet presAssocID="{308078F6-FF3F-45A9-A259-5BCF823D8172}" presName="image2" presStyleLbl="node2" presStyleIdx="1" presStyleCnt="2" custScaleX="139747"/>
      <dgm:spPr>
        <a:prstGeom prst="roundRect">
          <a:avLst/>
        </a:prstGeom>
      </dgm:spPr>
    </dgm:pt>
    <dgm:pt modelId="{91066820-CA07-4FF5-B284-536CEC7812A5}" type="pres">
      <dgm:prSet presAssocID="{308078F6-FF3F-45A9-A259-5BCF823D8172}" presName="text2" presStyleLbl="revTx" presStyleIdx="4" presStyleCnt="7" custLinFactNeighborX="974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D064463-595D-45B9-9F74-D4991E3B3E02}" type="pres">
      <dgm:prSet presAssocID="{308078F6-FF3F-45A9-A259-5BCF823D8172}" presName="hierChild3" presStyleCnt="0"/>
      <dgm:spPr/>
    </dgm:pt>
    <dgm:pt modelId="{B92896BF-EDC6-489B-8AE1-B1397F09B965}" type="pres">
      <dgm:prSet presAssocID="{0F35DABA-3D8A-4DFC-9E4B-047D760F4158}" presName="Name17" presStyleLbl="parChTrans1D3" presStyleIdx="2" presStyleCnt="4"/>
      <dgm:spPr/>
      <dgm:t>
        <a:bodyPr/>
        <a:lstStyle/>
        <a:p>
          <a:endParaRPr lang="en-US"/>
        </a:p>
      </dgm:t>
    </dgm:pt>
    <dgm:pt modelId="{244E0E29-2B0D-4759-B59B-8B1FDE6B2DF6}" type="pres">
      <dgm:prSet presAssocID="{C90A8E79-2C8B-44B1-89AE-2BFF85A726B2}" presName="hierRoot3" presStyleCnt="0"/>
      <dgm:spPr/>
    </dgm:pt>
    <dgm:pt modelId="{864F0D82-D465-4B5F-BD70-3619501D2087}" type="pres">
      <dgm:prSet presAssocID="{C90A8E79-2C8B-44B1-89AE-2BFF85A726B2}" presName="composite3" presStyleCnt="0"/>
      <dgm:spPr/>
    </dgm:pt>
    <dgm:pt modelId="{313630D7-A30E-426D-8D34-6E4A9E51425E}" type="pres">
      <dgm:prSet presAssocID="{C90A8E79-2C8B-44B1-89AE-2BFF85A726B2}" presName="image3" presStyleLbl="node3" presStyleIdx="2" presStyleCnt="4" custScaleX="148151"/>
      <dgm:spPr>
        <a:prstGeom prst="roundRect">
          <a:avLst/>
        </a:prstGeom>
      </dgm:spPr>
    </dgm:pt>
    <dgm:pt modelId="{D8DFFF00-944D-4890-83A0-2659D73F5651}" type="pres">
      <dgm:prSet presAssocID="{C90A8E79-2C8B-44B1-89AE-2BFF85A726B2}" presName="text3" presStyleLbl="revTx" presStyleIdx="5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248C420-2BA7-4AF5-B581-51863CA0D7B5}" type="pres">
      <dgm:prSet presAssocID="{C90A8E79-2C8B-44B1-89AE-2BFF85A726B2}" presName="hierChild4" presStyleCnt="0"/>
      <dgm:spPr/>
    </dgm:pt>
    <dgm:pt modelId="{68E32157-52D8-40FB-8973-B63D159F6BDF}" type="pres">
      <dgm:prSet presAssocID="{D7A3E7DB-A015-486C-B1AA-FB9F31D66C88}" presName="Name17" presStyleLbl="parChTrans1D3" presStyleIdx="3" presStyleCnt="4"/>
      <dgm:spPr/>
      <dgm:t>
        <a:bodyPr/>
        <a:lstStyle/>
        <a:p>
          <a:endParaRPr lang="en-US"/>
        </a:p>
      </dgm:t>
    </dgm:pt>
    <dgm:pt modelId="{FFE4D459-3EE5-4F4A-8F74-DE9560666BDF}" type="pres">
      <dgm:prSet presAssocID="{27A52BC5-6825-420D-B536-816FC07A64C5}" presName="hierRoot3" presStyleCnt="0"/>
      <dgm:spPr/>
    </dgm:pt>
    <dgm:pt modelId="{AE65526B-2C93-484D-9625-ED470A71EC63}" type="pres">
      <dgm:prSet presAssocID="{27A52BC5-6825-420D-B536-816FC07A64C5}" presName="composite3" presStyleCnt="0"/>
      <dgm:spPr/>
    </dgm:pt>
    <dgm:pt modelId="{6DF9CA54-8F0A-4CFC-86CB-13FA5C97BAB8}" type="pres">
      <dgm:prSet presAssocID="{27A52BC5-6825-420D-B536-816FC07A64C5}" presName="image3" presStyleLbl="node3" presStyleIdx="3" presStyleCnt="4" custScaleX="151525"/>
      <dgm:spPr>
        <a:prstGeom prst="roundRect">
          <a:avLst/>
        </a:prstGeom>
      </dgm:spPr>
    </dgm:pt>
    <dgm:pt modelId="{4C7A0595-3C3B-4FA1-B5A7-8E255AFB2DF5}" type="pres">
      <dgm:prSet presAssocID="{27A52BC5-6825-420D-B536-816FC07A64C5}" presName="text3" presStyleLbl="revTx" presStyleIdx="6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CD064D1-639D-4531-B507-20C6B32B175D}" type="pres">
      <dgm:prSet presAssocID="{27A52BC5-6825-420D-B536-816FC07A64C5}" presName="hierChild4" presStyleCnt="0"/>
      <dgm:spPr/>
    </dgm:pt>
  </dgm:ptLst>
  <dgm:cxnLst>
    <dgm:cxn modelId="{61EF84C2-4843-4322-9063-266FC8F54A1A}" type="presOf" srcId="{F84951AD-39BD-46E7-8341-F979E5BC53F6}" destId="{EBAF4BD4-603F-4B23-901B-F619FAB96B36}" srcOrd="0" destOrd="0" presId="urn:microsoft.com/office/officeart/2009/layout/CirclePictureHierarchy"/>
    <dgm:cxn modelId="{CE189F27-77E5-4963-8000-7D3DC7E80540}" type="presOf" srcId="{27A52BC5-6825-420D-B536-816FC07A64C5}" destId="{4C7A0595-3C3B-4FA1-B5A7-8E255AFB2DF5}" srcOrd="0" destOrd="0" presId="urn:microsoft.com/office/officeart/2009/layout/CirclePictureHierarchy"/>
    <dgm:cxn modelId="{FB96E8A4-50C3-4E76-89EA-83376248FD13}" srcId="{F2FB4099-C8CB-4B1A-B65C-443F11E7489F}" destId="{308078F6-FF3F-45A9-A259-5BCF823D8172}" srcOrd="1" destOrd="0" parTransId="{58CAB926-9E30-4799-B6BD-AA38737D1F86}" sibTransId="{53B73B08-C4BF-4020-AFE9-2E2254439A7E}"/>
    <dgm:cxn modelId="{9C2734BA-0388-4FDB-B359-7CDA4FA41E80}" type="presOf" srcId="{C90A8E79-2C8B-44B1-89AE-2BFF85A726B2}" destId="{D8DFFF00-944D-4890-83A0-2659D73F5651}" srcOrd="0" destOrd="0" presId="urn:microsoft.com/office/officeart/2009/layout/CirclePictureHierarchy"/>
    <dgm:cxn modelId="{B866161E-CFCE-41A3-A459-F05B82F90D4E}" type="presOf" srcId="{B03ECFF9-F4EE-4934-908F-8E164815BF88}" destId="{5F0FF03A-B0BE-4C3B-AF69-24C91BA233E4}" srcOrd="0" destOrd="0" presId="urn:microsoft.com/office/officeart/2009/layout/CirclePictureHierarchy"/>
    <dgm:cxn modelId="{1610F86F-8012-43CC-BF3C-DB883A25EAF1}" type="presOf" srcId="{FD990548-488F-4838-93E7-C825AF7FB468}" destId="{1280E3DA-BF55-4052-BD6B-C0F9A16E93BC}" srcOrd="0" destOrd="0" presId="urn:microsoft.com/office/officeart/2009/layout/CirclePictureHierarchy"/>
    <dgm:cxn modelId="{C07E4F1C-31EE-48EA-B7A3-4E9BA2DCC55A}" type="presOf" srcId="{660BF16F-DACB-4164-8BF2-E2D96361E053}" destId="{6EAEFBC7-E283-4157-BF64-5779EC3D3415}" srcOrd="0" destOrd="0" presId="urn:microsoft.com/office/officeart/2009/layout/CirclePictureHierarchy"/>
    <dgm:cxn modelId="{AD6FC6F9-48BF-489A-9A90-F00FFCE90F6A}" srcId="{35264909-D74D-4EDC-B112-1FAAE7EFC41E}" destId="{B03ECFF9-F4EE-4934-908F-8E164815BF88}" srcOrd="1" destOrd="0" parTransId="{660BF16F-DACB-4164-8BF2-E2D96361E053}" sibTransId="{896ACF35-CAAD-411F-9483-AC41A23A39C0}"/>
    <dgm:cxn modelId="{4FFB3E37-815E-4A63-93AB-9FC182DB8750}" srcId="{35264909-D74D-4EDC-B112-1FAAE7EFC41E}" destId="{CDACFFC8-7E94-45C0-B88D-E58EFA629FC4}" srcOrd="0" destOrd="0" parTransId="{54D062DB-F00C-4803-82C8-4A8F85F49093}" sibTransId="{76372F04-9EEA-4CB6-9DB0-E653683D2C0A}"/>
    <dgm:cxn modelId="{4A10020A-D442-429A-9813-A408294C9968}" srcId="{F2FB4099-C8CB-4B1A-B65C-443F11E7489F}" destId="{35264909-D74D-4EDC-B112-1FAAE7EFC41E}" srcOrd="0" destOrd="0" parTransId="{F84951AD-39BD-46E7-8341-F979E5BC53F6}" sibTransId="{05BF2A93-09AA-4BB9-8C42-7551B423E2D7}"/>
    <dgm:cxn modelId="{978EAA57-E168-4B7F-ACB0-3A873533FFCB}" type="presOf" srcId="{D7A3E7DB-A015-486C-B1AA-FB9F31D66C88}" destId="{68E32157-52D8-40FB-8973-B63D159F6BDF}" srcOrd="0" destOrd="0" presId="urn:microsoft.com/office/officeart/2009/layout/CirclePictureHierarchy"/>
    <dgm:cxn modelId="{7788B473-B7B7-43CD-BDEC-D843B1673A67}" type="presOf" srcId="{CDACFFC8-7E94-45C0-B88D-E58EFA629FC4}" destId="{81FBF99C-9828-4DF1-B2FE-0A8BD1DDCB26}" srcOrd="0" destOrd="0" presId="urn:microsoft.com/office/officeart/2009/layout/CirclePictureHierarchy"/>
    <dgm:cxn modelId="{4C765E72-8DF5-44CC-8A71-C3C65C8E288A}" type="presOf" srcId="{308078F6-FF3F-45A9-A259-5BCF823D8172}" destId="{91066820-CA07-4FF5-B284-536CEC7812A5}" srcOrd="0" destOrd="0" presId="urn:microsoft.com/office/officeart/2009/layout/CirclePictureHierarchy"/>
    <dgm:cxn modelId="{22B3AD24-EA4B-439C-A7B9-5364455F3590}" type="presOf" srcId="{F2FB4099-C8CB-4B1A-B65C-443F11E7489F}" destId="{2C170949-9E4A-4702-B6EF-9ED2898DBC50}" srcOrd="0" destOrd="0" presId="urn:microsoft.com/office/officeart/2009/layout/CirclePictureHierarchy"/>
    <dgm:cxn modelId="{FC154126-BDFB-42D7-B82E-159E01CD71B9}" type="presOf" srcId="{0F35DABA-3D8A-4DFC-9E4B-047D760F4158}" destId="{B92896BF-EDC6-489B-8AE1-B1397F09B965}" srcOrd="0" destOrd="0" presId="urn:microsoft.com/office/officeart/2009/layout/CirclePictureHierarchy"/>
    <dgm:cxn modelId="{B63FE192-5110-44EE-81E7-4C5171801383}" srcId="{308078F6-FF3F-45A9-A259-5BCF823D8172}" destId="{27A52BC5-6825-420D-B536-816FC07A64C5}" srcOrd="1" destOrd="0" parTransId="{D7A3E7DB-A015-486C-B1AA-FB9F31D66C88}" sibTransId="{89FF2B4A-D176-4684-B4FE-08A947961A88}"/>
    <dgm:cxn modelId="{DF774E58-4011-4874-9A9D-D8DB1F883751}" srcId="{308078F6-FF3F-45A9-A259-5BCF823D8172}" destId="{C90A8E79-2C8B-44B1-89AE-2BFF85A726B2}" srcOrd="0" destOrd="0" parTransId="{0F35DABA-3D8A-4DFC-9E4B-047D760F4158}" sibTransId="{021C92D9-D84A-4173-B19A-0149C5D24E1E}"/>
    <dgm:cxn modelId="{A01270A9-721E-4EBD-B4D4-015D916D3D07}" type="presOf" srcId="{54D062DB-F00C-4803-82C8-4A8F85F49093}" destId="{C747F7CC-BDD0-4D07-9A4B-385FB250ADC2}" srcOrd="0" destOrd="0" presId="urn:microsoft.com/office/officeart/2009/layout/CirclePictureHierarchy"/>
    <dgm:cxn modelId="{EB3C7633-6FEE-4951-81C3-C1C591D73D40}" srcId="{FD990548-488F-4838-93E7-C825AF7FB468}" destId="{F2FB4099-C8CB-4B1A-B65C-443F11E7489F}" srcOrd="0" destOrd="0" parTransId="{B0F7E6BE-A493-4A04-A9AD-D7C270657DC5}" sibTransId="{E97F3F70-B5FF-411E-8A9F-FF9AE034EC58}"/>
    <dgm:cxn modelId="{47F990DA-B417-4CFC-A2CA-0236BC491FBE}" type="presOf" srcId="{58CAB926-9E30-4799-B6BD-AA38737D1F86}" destId="{F5FF61F0-7B6A-41A8-B9A7-09B26062F818}" srcOrd="0" destOrd="0" presId="urn:microsoft.com/office/officeart/2009/layout/CirclePictureHierarchy"/>
    <dgm:cxn modelId="{F5BCCAB0-1AF6-4EF1-9B8D-6FB33ECD32F8}" type="presOf" srcId="{35264909-D74D-4EDC-B112-1FAAE7EFC41E}" destId="{DF9E918C-02F8-456D-B05E-84CA9DBADA62}" srcOrd="0" destOrd="0" presId="urn:microsoft.com/office/officeart/2009/layout/CirclePictureHierarchy"/>
    <dgm:cxn modelId="{352FA71A-A7C5-4ABF-B17D-6D675504C754}" type="presParOf" srcId="{1280E3DA-BF55-4052-BD6B-C0F9A16E93BC}" destId="{BE3DEFE4-48C8-4F91-AB6A-BDBC86099481}" srcOrd="0" destOrd="0" presId="urn:microsoft.com/office/officeart/2009/layout/CirclePictureHierarchy"/>
    <dgm:cxn modelId="{5A7297C7-DF52-4B64-9DBC-0E3479CDF263}" type="presParOf" srcId="{BE3DEFE4-48C8-4F91-AB6A-BDBC86099481}" destId="{7AA761DE-37C4-4054-B1CC-18E26457A060}" srcOrd="0" destOrd="0" presId="urn:microsoft.com/office/officeart/2009/layout/CirclePictureHierarchy"/>
    <dgm:cxn modelId="{EBC4BFC9-C554-4938-A2E1-5365DDED7640}" type="presParOf" srcId="{7AA761DE-37C4-4054-B1CC-18E26457A060}" destId="{E27118C5-C840-4584-A1C2-DFC69F9BBBD3}" srcOrd="0" destOrd="0" presId="urn:microsoft.com/office/officeart/2009/layout/CirclePictureHierarchy"/>
    <dgm:cxn modelId="{AC0B6E7D-EC4E-45C1-B516-194142FDC73D}" type="presParOf" srcId="{7AA761DE-37C4-4054-B1CC-18E26457A060}" destId="{2C170949-9E4A-4702-B6EF-9ED2898DBC50}" srcOrd="1" destOrd="0" presId="urn:microsoft.com/office/officeart/2009/layout/CirclePictureHierarchy"/>
    <dgm:cxn modelId="{CFE91775-0692-4BC3-95F2-B8A0CF73B74D}" type="presParOf" srcId="{BE3DEFE4-48C8-4F91-AB6A-BDBC86099481}" destId="{D0E32ABF-7D09-4B81-AF26-9FA2FF564E5F}" srcOrd="1" destOrd="0" presId="urn:microsoft.com/office/officeart/2009/layout/CirclePictureHierarchy"/>
    <dgm:cxn modelId="{A77D1D96-956A-4BCE-987E-C63F8F452271}" type="presParOf" srcId="{D0E32ABF-7D09-4B81-AF26-9FA2FF564E5F}" destId="{EBAF4BD4-603F-4B23-901B-F619FAB96B36}" srcOrd="0" destOrd="0" presId="urn:microsoft.com/office/officeart/2009/layout/CirclePictureHierarchy"/>
    <dgm:cxn modelId="{F1A0B3BC-D21E-4012-810A-5B004F541687}" type="presParOf" srcId="{D0E32ABF-7D09-4B81-AF26-9FA2FF564E5F}" destId="{A063B1BA-C891-4E74-BE40-93E00C4E4080}" srcOrd="1" destOrd="0" presId="urn:microsoft.com/office/officeart/2009/layout/CirclePictureHierarchy"/>
    <dgm:cxn modelId="{9CB769A9-6925-4E94-BDC4-85137374F2CF}" type="presParOf" srcId="{A063B1BA-C891-4E74-BE40-93E00C4E4080}" destId="{ABB9408C-29D5-4E3F-B454-EE82B263CC4B}" srcOrd="0" destOrd="0" presId="urn:microsoft.com/office/officeart/2009/layout/CirclePictureHierarchy"/>
    <dgm:cxn modelId="{60364540-45D3-4F47-A8B2-022281EBD9BC}" type="presParOf" srcId="{ABB9408C-29D5-4E3F-B454-EE82B263CC4B}" destId="{B16F5681-5EFD-4AD8-9547-0D085BBD3319}" srcOrd="0" destOrd="0" presId="urn:microsoft.com/office/officeart/2009/layout/CirclePictureHierarchy"/>
    <dgm:cxn modelId="{EF559DED-949E-45BD-9EEE-D525E1887911}" type="presParOf" srcId="{ABB9408C-29D5-4E3F-B454-EE82B263CC4B}" destId="{DF9E918C-02F8-456D-B05E-84CA9DBADA62}" srcOrd="1" destOrd="0" presId="urn:microsoft.com/office/officeart/2009/layout/CirclePictureHierarchy"/>
    <dgm:cxn modelId="{3846423B-31F1-49BB-9158-E15F3EE865E2}" type="presParOf" srcId="{A063B1BA-C891-4E74-BE40-93E00C4E4080}" destId="{4989364A-60D3-4E70-8124-6C5DFA508B63}" srcOrd="1" destOrd="0" presId="urn:microsoft.com/office/officeart/2009/layout/CirclePictureHierarchy"/>
    <dgm:cxn modelId="{224D4641-571C-420E-BEC1-41EFA4E62D12}" type="presParOf" srcId="{4989364A-60D3-4E70-8124-6C5DFA508B63}" destId="{C747F7CC-BDD0-4D07-9A4B-385FB250ADC2}" srcOrd="0" destOrd="0" presId="urn:microsoft.com/office/officeart/2009/layout/CirclePictureHierarchy"/>
    <dgm:cxn modelId="{BA3B60F9-F01C-48AA-A2D9-6F04D49A310B}" type="presParOf" srcId="{4989364A-60D3-4E70-8124-6C5DFA508B63}" destId="{9390D5EE-D8F5-43A5-81C4-2DF69BD19C44}" srcOrd="1" destOrd="0" presId="urn:microsoft.com/office/officeart/2009/layout/CirclePictureHierarchy"/>
    <dgm:cxn modelId="{FE50F16A-0CE3-49AD-9F53-13435DADBF1F}" type="presParOf" srcId="{9390D5EE-D8F5-43A5-81C4-2DF69BD19C44}" destId="{58A58DD0-A13B-405E-8008-8306DD600D4B}" srcOrd="0" destOrd="0" presId="urn:microsoft.com/office/officeart/2009/layout/CirclePictureHierarchy"/>
    <dgm:cxn modelId="{3895EE9B-2CBF-4527-9423-7933593EC47C}" type="presParOf" srcId="{58A58DD0-A13B-405E-8008-8306DD600D4B}" destId="{D013AD80-5E3C-475D-B727-87917044D2B5}" srcOrd="0" destOrd="0" presId="urn:microsoft.com/office/officeart/2009/layout/CirclePictureHierarchy"/>
    <dgm:cxn modelId="{A1CF99F1-FAB9-44EF-93AF-1161E8CFF2A8}" type="presParOf" srcId="{58A58DD0-A13B-405E-8008-8306DD600D4B}" destId="{81FBF99C-9828-4DF1-B2FE-0A8BD1DDCB26}" srcOrd="1" destOrd="0" presId="urn:microsoft.com/office/officeart/2009/layout/CirclePictureHierarchy"/>
    <dgm:cxn modelId="{BC058943-2127-4677-B177-5C749404851C}" type="presParOf" srcId="{9390D5EE-D8F5-43A5-81C4-2DF69BD19C44}" destId="{3750C7CD-BC35-4AA4-AF0A-46B30FB4428C}" srcOrd="1" destOrd="0" presId="urn:microsoft.com/office/officeart/2009/layout/CirclePictureHierarchy"/>
    <dgm:cxn modelId="{B99D76EC-E3C7-4DD6-9492-8219B19037DD}" type="presParOf" srcId="{4989364A-60D3-4E70-8124-6C5DFA508B63}" destId="{6EAEFBC7-E283-4157-BF64-5779EC3D3415}" srcOrd="2" destOrd="0" presId="urn:microsoft.com/office/officeart/2009/layout/CirclePictureHierarchy"/>
    <dgm:cxn modelId="{3A47BBC7-BA8A-4875-A061-DCDFDCACBB42}" type="presParOf" srcId="{4989364A-60D3-4E70-8124-6C5DFA508B63}" destId="{CF3B2654-FD20-4DDF-A6BE-29F8DCA40087}" srcOrd="3" destOrd="0" presId="urn:microsoft.com/office/officeart/2009/layout/CirclePictureHierarchy"/>
    <dgm:cxn modelId="{FEF9FA34-7F13-4DB0-928C-54B4A9C12CC2}" type="presParOf" srcId="{CF3B2654-FD20-4DDF-A6BE-29F8DCA40087}" destId="{C3547DF6-21FE-41AB-BA6C-3AF65A7BA385}" srcOrd="0" destOrd="0" presId="urn:microsoft.com/office/officeart/2009/layout/CirclePictureHierarchy"/>
    <dgm:cxn modelId="{9909C594-F582-446C-8DE9-8814637A6074}" type="presParOf" srcId="{C3547DF6-21FE-41AB-BA6C-3AF65A7BA385}" destId="{97635782-6BEA-44F0-B996-EAFEC38ED061}" srcOrd="0" destOrd="0" presId="urn:microsoft.com/office/officeart/2009/layout/CirclePictureHierarchy"/>
    <dgm:cxn modelId="{87365416-A6C6-42A0-B688-FEA038C48029}" type="presParOf" srcId="{C3547DF6-21FE-41AB-BA6C-3AF65A7BA385}" destId="{5F0FF03A-B0BE-4C3B-AF69-24C91BA233E4}" srcOrd="1" destOrd="0" presId="urn:microsoft.com/office/officeart/2009/layout/CirclePictureHierarchy"/>
    <dgm:cxn modelId="{7E041043-5701-440D-9074-EB48EE49CAAC}" type="presParOf" srcId="{CF3B2654-FD20-4DDF-A6BE-29F8DCA40087}" destId="{5188E27E-35FC-4E55-85DD-C113993B3333}" srcOrd="1" destOrd="0" presId="urn:microsoft.com/office/officeart/2009/layout/CirclePictureHierarchy"/>
    <dgm:cxn modelId="{CD687876-9132-471D-8121-E2C8EEDA95F2}" type="presParOf" srcId="{D0E32ABF-7D09-4B81-AF26-9FA2FF564E5F}" destId="{F5FF61F0-7B6A-41A8-B9A7-09B26062F818}" srcOrd="2" destOrd="0" presId="urn:microsoft.com/office/officeart/2009/layout/CirclePictureHierarchy"/>
    <dgm:cxn modelId="{39450D7D-1763-4B90-A6D6-793638104F2C}" type="presParOf" srcId="{D0E32ABF-7D09-4B81-AF26-9FA2FF564E5F}" destId="{C1DDC779-50CC-43B1-B321-31EE723F44E3}" srcOrd="3" destOrd="0" presId="urn:microsoft.com/office/officeart/2009/layout/CirclePictureHierarchy"/>
    <dgm:cxn modelId="{F772E3AB-CECE-453F-978E-E6461FA1CF65}" type="presParOf" srcId="{C1DDC779-50CC-43B1-B321-31EE723F44E3}" destId="{58D91033-29F4-4CF7-94DA-61FD285152B4}" srcOrd="0" destOrd="0" presId="urn:microsoft.com/office/officeart/2009/layout/CirclePictureHierarchy"/>
    <dgm:cxn modelId="{D9377727-6C85-4B59-BE35-6EA17428ECF9}" type="presParOf" srcId="{58D91033-29F4-4CF7-94DA-61FD285152B4}" destId="{F4A3EF1A-3B5F-4F56-8EFD-D02DB740D62C}" srcOrd="0" destOrd="0" presId="urn:microsoft.com/office/officeart/2009/layout/CirclePictureHierarchy"/>
    <dgm:cxn modelId="{A15AC9E0-E5D9-46FE-8978-BC137D1C3014}" type="presParOf" srcId="{58D91033-29F4-4CF7-94DA-61FD285152B4}" destId="{91066820-CA07-4FF5-B284-536CEC7812A5}" srcOrd="1" destOrd="0" presId="urn:microsoft.com/office/officeart/2009/layout/CirclePictureHierarchy"/>
    <dgm:cxn modelId="{91FFF8EE-5AD5-4623-AB74-A840DA309361}" type="presParOf" srcId="{C1DDC779-50CC-43B1-B321-31EE723F44E3}" destId="{8D064463-595D-45B9-9F74-D4991E3B3E02}" srcOrd="1" destOrd="0" presId="urn:microsoft.com/office/officeart/2009/layout/CirclePictureHierarchy"/>
    <dgm:cxn modelId="{F7983CE3-C059-4081-8DBA-91626EB1C1BC}" type="presParOf" srcId="{8D064463-595D-45B9-9F74-D4991E3B3E02}" destId="{B92896BF-EDC6-489B-8AE1-B1397F09B965}" srcOrd="0" destOrd="0" presId="urn:microsoft.com/office/officeart/2009/layout/CirclePictureHierarchy"/>
    <dgm:cxn modelId="{DB0A9345-A640-445A-804A-E217DF936A49}" type="presParOf" srcId="{8D064463-595D-45B9-9F74-D4991E3B3E02}" destId="{244E0E29-2B0D-4759-B59B-8B1FDE6B2DF6}" srcOrd="1" destOrd="0" presId="urn:microsoft.com/office/officeart/2009/layout/CirclePictureHierarchy"/>
    <dgm:cxn modelId="{1DA0100A-FB3A-4C7F-97AA-27CB3441D8CB}" type="presParOf" srcId="{244E0E29-2B0D-4759-B59B-8B1FDE6B2DF6}" destId="{864F0D82-D465-4B5F-BD70-3619501D2087}" srcOrd="0" destOrd="0" presId="urn:microsoft.com/office/officeart/2009/layout/CirclePictureHierarchy"/>
    <dgm:cxn modelId="{C4D50D86-D989-409A-A067-346E8A5FF26F}" type="presParOf" srcId="{864F0D82-D465-4B5F-BD70-3619501D2087}" destId="{313630D7-A30E-426D-8D34-6E4A9E51425E}" srcOrd="0" destOrd="0" presId="urn:microsoft.com/office/officeart/2009/layout/CirclePictureHierarchy"/>
    <dgm:cxn modelId="{C07980F1-1E30-4E3A-A164-46B2DB544FF1}" type="presParOf" srcId="{864F0D82-D465-4B5F-BD70-3619501D2087}" destId="{D8DFFF00-944D-4890-83A0-2659D73F5651}" srcOrd="1" destOrd="0" presId="urn:microsoft.com/office/officeart/2009/layout/CirclePictureHierarchy"/>
    <dgm:cxn modelId="{4BFD6E07-1C9B-4030-84EC-1003D4F5B7A5}" type="presParOf" srcId="{244E0E29-2B0D-4759-B59B-8B1FDE6B2DF6}" destId="{5248C420-2BA7-4AF5-B581-51863CA0D7B5}" srcOrd="1" destOrd="0" presId="urn:microsoft.com/office/officeart/2009/layout/CirclePictureHierarchy"/>
    <dgm:cxn modelId="{8BAAE9F7-47A1-47EC-A393-76DAF39DCE33}" type="presParOf" srcId="{8D064463-595D-45B9-9F74-D4991E3B3E02}" destId="{68E32157-52D8-40FB-8973-B63D159F6BDF}" srcOrd="2" destOrd="0" presId="urn:microsoft.com/office/officeart/2009/layout/CirclePictureHierarchy"/>
    <dgm:cxn modelId="{B541A322-E5D3-48B9-A7F3-1689A59FB404}" type="presParOf" srcId="{8D064463-595D-45B9-9F74-D4991E3B3E02}" destId="{FFE4D459-3EE5-4F4A-8F74-DE9560666BDF}" srcOrd="3" destOrd="0" presId="urn:microsoft.com/office/officeart/2009/layout/CirclePictureHierarchy"/>
    <dgm:cxn modelId="{3EBC3AE0-CFA7-421D-99A8-69F70964CB20}" type="presParOf" srcId="{FFE4D459-3EE5-4F4A-8F74-DE9560666BDF}" destId="{AE65526B-2C93-484D-9625-ED470A71EC63}" srcOrd="0" destOrd="0" presId="urn:microsoft.com/office/officeart/2009/layout/CirclePictureHierarchy"/>
    <dgm:cxn modelId="{04F8796D-3CEC-4CE5-86C9-D8415E1CEBF2}" type="presParOf" srcId="{AE65526B-2C93-484D-9625-ED470A71EC63}" destId="{6DF9CA54-8F0A-4CFC-86CB-13FA5C97BAB8}" srcOrd="0" destOrd="0" presId="urn:microsoft.com/office/officeart/2009/layout/CirclePictureHierarchy"/>
    <dgm:cxn modelId="{83423D81-71F0-4CB0-A9DC-4B87D24402F6}" type="presParOf" srcId="{AE65526B-2C93-484D-9625-ED470A71EC63}" destId="{4C7A0595-3C3B-4FA1-B5A7-8E255AFB2DF5}" srcOrd="1" destOrd="0" presId="urn:microsoft.com/office/officeart/2009/layout/CirclePictureHierarchy"/>
    <dgm:cxn modelId="{47210567-280D-4F95-ABF2-99284F3BF3AA}" type="presParOf" srcId="{FFE4D459-3EE5-4F4A-8F74-DE9560666BDF}" destId="{9CD064D1-639D-4531-B507-20C6B32B175D}" srcOrd="1" destOrd="0" presId="urn:microsoft.com/office/officeart/2009/layout/CirclePicture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E32157-52D8-40FB-8973-B63D159F6BDF}">
      <dsp:nvSpPr>
        <dsp:cNvPr id="0" name=""/>
        <dsp:cNvSpPr/>
      </dsp:nvSpPr>
      <dsp:spPr>
        <a:xfrm>
          <a:off x="13741703" y="6262408"/>
          <a:ext cx="2566695" cy="5302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7219"/>
              </a:lnTo>
              <a:lnTo>
                <a:pt x="2566695" y="267219"/>
              </a:lnTo>
              <a:lnTo>
                <a:pt x="2566695" y="53023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2896BF-EDC6-489B-8AE1-B1397F09B965}">
      <dsp:nvSpPr>
        <dsp:cNvPr id="0" name=""/>
        <dsp:cNvSpPr/>
      </dsp:nvSpPr>
      <dsp:spPr>
        <a:xfrm>
          <a:off x="11245738" y="6262408"/>
          <a:ext cx="2495964" cy="530231"/>
        </a:xfrm>
        <a:custGeom>
          <a:avLst/>
          <a:gdLst/>
          <a:ahLst/>
          <a:cxnLst/>
          <a:rect l="0" t="0" r="0" b="0"/>
          <a:pathLst>
            <a:path>
              <a:moveTo>
                <a:pt x="2495964" y="0"/>
              </a:moveTo>
              <a:lnTo>
                <a:pt x="2495964" y="267219"/>
              </a:lnTo>
              <a:lnTo>
                <a:pt x="0" y="267219"/>
              </a:lnTo>
              <a:lnTo>
                <a:pt x="0" y="53023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5FF61F0-7B6A-41A8-B9A7-09B26062F818}">
      <dsp:nvSpPr>
        <dsp:cNvPr id="0" name=""/>
        <dsp:cNvSpPr/>
      </dsp:nvSpPr>
      <dsp:spPr>
        <a:xfrm>
          <a:off x="8769203" y="4048902"/>
          <a:ext cx="4972499" cy="5302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7219"/>
              </a:lnTo>
              <a:lnTo>
                <a:pt x="4972499" y="267219"/>
              </a:lnTo>
              <a:lnTo>
                <a:pt x="4972499" y="53023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EAEFBC7-E283-4157-BF64-5779EC3D3415}">
      <dsp:nvSpPr>
        <dsp:cNvPr id="0" name=""/>
        <dsp:cNvSpPr/>
      </dsp:nvSpPr>
      <dsp:spPr>
        <a:xfrm>
          <a:off x="3694664" y="6262408"/>
          <a:ext cx="2516811" cy="5302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7219"/>
              </a:lnTo>
              <a:lnTo>
                <a:pt x="2516811" y="267219"/>
              </a:lnTo>
              <a:lnTo>
                <a:pt x="2516811" y="53023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747F7CC-BDD0-4D07-9A4B-385FB250ADC2}">
      <dsp:nvSpPr>
        <dsp:cNvPr id="0" name=""/>
        <dsp:cNvSpPr/>
      </dsp:nvSpPr>
      <dsp:spPr>
        <a:xfrm>
          <a:off x="1204381" y="6262408"/>
          <a:ext cx="2490283" cy="530231"/>
        </a:xfrm>
        <a:custGeom>
          <a:avLst/>
          <a:gdLst/>
          <a:ahLst/>
          <a:cxnLst/>
          <a:rect l="0" t="0" r="0" b="0"/>
          <a:pathLst>
            <a:path>
              <a:moveTo>
                <a:pt x="2490283" y="0"/>
              </a:moveTo>
              <a:lnTo>
                <a:pt x="2490283" y="267219"/>
              </a:lnTo>
              <a:lnTo>
                <a:pt x="0" y="267219"/>
              </a:lnTo>
              <a:lnTo>
                <a:pt x="0" y="53023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AF4BD4-603F-4B23-901B-F619FAB96B36}">
      <dsp:nvSpPr>
        <dsp:cNvPr id="0" name=""/>
        <dsp:cNvSpPr/>
      </dsp:nvSpPr>
      <dsp:spPr>
        <a:xfrm>
          <a:off x="3694664" y="4048902"/>
          <a:ext cx="5074539" cy="530231"/>
        </a:xfrm>
        <a:custGeom>
          <a:avLst/>
          <a:gdLst/>
          <a:ahLst/>
          <a:cxnLst/>
          <a:rect l="0" t="0" r="0" b="0"/>
          <a:pathLst>
            <a:path>
              <a:moveTo>
                <a:pt x="5074539" y="0"/>
              </a:moveTo>
              <a:lnTo>
                <a:pt x="5074539" y="267219"/>
              </a:lnTo>
              <a:lnTo>
                <a:pt x="0" y="267219"/>
              </a:lnTo>
              <a:lnTo>
                <a:pt x="0" y="53023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27118C5-C840-4584-A1C2-DFC69F9BBBD3}">
      <dsp:nvSpPr>
        <dsp:cNvPr id="0" name=""/>
        <dsp:cNvSpPr/>
      </dsp:nvSpPr>
      <dsp:spPr>
        <a:xfrm>
          <a:off x="7491000" y="2365627"/>
          <a:ext cx="2556406" cy="16832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170949-9E4A-4702-B6EF-9ED2898DBC50}">
      <dsp:nvSpPr>
        <dsp:cNvPr id="0" name=""/>
        <dsp:cNvSpPr/>
      </dsp:nvSpPr>
      <dsp:spPr>
        <a:xfrm>
          <a:off x="10078480" y="2361418"/>
          <a:ext cx="2524912" cy="16832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600" kern="1200" dirty="0" smtClean="0"/>
            <a:t>Engine temperature high daily pct &lt;=0.222</a:t>
          </a:r>
          <a:endParaRPr lang="en-US" sz="2600" kern="1200" dirty="0"/>
        </a:p>
      </dsp:txBody>
      <dsp:txXfrm>
        <a:off x="10078480" y="2361418"/>
        <a:ext cx="2524912" cy="1683274"/>
      </dsp:txXfrm>
    </dsp:sp>
    <dsp:sp modelId="{B16F5681-5EFD-4AD8-9547-0D085BBD3319}">
      <dsp:nvSpPr>
        <dsp:cNvPr id="0" name=""/>
        <dsp:cNvSpPr/>
      </dsp:nvSpPr>
      <dsp:spPr>
        <a:xfrm>
          <a:off x="2518501" y="4579133"/>
          <a:ext cx="2352326" cy="16832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F9E918C-02F8-456D-B05E-84CA9DBADA62}">
      <dsp:nvSpPr>
        <dsp:cNvPr id="0" name=""/>
        <dsp:cNvSpPr/>
      </dsp:nvSpPr>
      <dsp:spPr>
        <a:xfrm>
          <a:off x="4782329" y="4574925"/>
          <a:ext cx="2524912" cy="16832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600" kern="1200" dirty="0" smtClean="0"/>
            <a:t>Coolant temperature high daily pct &lt;=0.204</a:t>
          </a:r>
          <a:endParaRPr lang="en-US" sz="2600" kern="1200" dirty="0"/>
        </a:p>
      </dsp:txBody>
      <dsp:txXfrm>
        <a:off x="4782329" y="4574925"/>
        <a:ext cx="2524912" cy="1683274"/>
      </dsp:txXfrm>
    </dsp:sp>
    <dsp:sp modelId="{D013AD80-5E3C-475D-B727-87917044D2B5}">
      <dsp:nvSpPr>
        <dsp:cNvPr id="0" name=""/>
        <dsp:cNvSpPr/>
      </dsp:nvSpPr>
      <dsp:spPr>
        <a:xfrm>
          <a:off x="1689" y="6792640"/>
          <a:ext cx="2405382" cy="16832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1FBF99C-9828-4DF1-B2FE-0A8BD1DDCB26}">
      <dsp:nvSpPr>
        <dsp:cNvPr id="0" name=""/>
        <dsp:cNvSpPr/>
      </dsp:nvSpPr>
      <dsp:spPr>
        <a:xfrm>
          <a:off x="2415059" y="6788431"/>
          <a:ext cx="2524912" cy="16832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600" kern="1200" dirty="0" smtClean="0"/>
            <a:t>Gear Power output low daily percentage &lt;=0.44</a:t>
          </a:r>
          <a:endParaRPr lang="en-US" sz="2600" kern="1200" dirty="0"/>
        </a:p>
      </dsp:txBody>
      <dsp:txXfrm>
        <a:off x="2415059" y="6788431"/>
        <a:ext cx="2524912" cy="1683274"/>
      </dsp:txXfrm>
    </dsp:sp>
    <dsp:sp modelId="{97635782-6BEA-44F0-B996-EAFEC38ED061}">
      <dsp:nvSpPr>
        <dsp:cNvPr id="0" name=""/>
        <dsp:cNvSpPr/>
      </dsp:nvSpPr>
      <dsp:spPr>
        <a:xfrm>
          <a:off x="4991749" y="6792640"/>
          <a:ext cx="2439452" cy="16832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0FF03A-B0BE-4C3B-AF69-24C91BA233E4}">
      <dsp:nvSpPr>
        <dsp:cNvPr id="0" name=""/>
        <dsp:cNvSpPr/>
      </dsp:nvSpPr>
      <dsp:spPr>
        <a:xfrm>
          <a:off x="7436344" y="6788431"/>
          <a:ext cx="2524912" cy="16832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600" kern="1200" dirty="0" smtClean="0"/>
            <a:t> Gear Oil Temp high daily percentage    &lt;= 0.256</a:t>
          </a:r>
          <a:endParaRPr lang="en-US" sz="2600" kern="1200" dirty="0"/>
        </a:p>
      </dsp:txBody>
      <dsp:txXfrm>
        <a:off x="7436344" y="6788431"/>
        <a:ext cx="2524912" cy="1683274"/>
      </dsp:txXfrm>
    </dsp:sp>
    <dsp:sp modelId="{F4A3EF1A-3B5F-4F56-8EFD-D02DB740D62C}">
      <dsp:nvSpPr>
        <dsp:cNvPr id="0" name=""/>
        <dsp:cNvSpPr/>
      </dsp:nvSpPr>
      <dsp:spPr>
        <a:xfrm>
          <a:off x="12565539" y="4579133"/>
          <a:ext cx="2352326" cy="16832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1066820-CA07-4FF5-B284-536CEC7812A5}">
      <dsp:nvSpPr>
        <dsp:cNvPr id="0" name=""/>
        <dsp:cNvSpPr/>
      </dsp:nvSpPr>
      <dsp:spPr>
        <a:xfrm>
          <a:off x="14829367" y="4574925"/>
          <a:ext cx="2524912" cy="16832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600" kern="1200" dirty="0" smtClean="0"/>
            <a:t>Gear Power output low daily percentage &lt;=0.628</a:t>
          </a:r>
          <a:endParaRPr lang="en-US" sz="2600" kern="1200" dirty="0"/>
        </a:p>
      </dsp:txBody>
      <dsp:txXfrm>
        <a:off x="14829367" y="4574925"/>
        <a:ext cx="2524912" cy="1683274"/>
      </dsp:txXfrm>
    </dsp:sp>
    <dsp:sp modelId="{313630D7-A30E-426D-8D34-6E4A9E51425E}">
      <dsp:nvSpPr>
        <dsp:cNvPr id="0" name=""/>
        <dsp:cNvSpPr/>
      </dsp:nvSpPr>
      <dsp:spPr>
        <a:xfrm>
          <a:off x="9998844" y="6792640"/>
          <a:ext cx="2493788" cy="16832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8DFFF00-944D-4890-83A0-2659D73F5651}">
      <dsp:nvSpPr>
        <dsp:cNvPr id="0" name=""/>
        <dsp:cNvSpPr/>
      </dsp:nvSpPr>
      <dsp:spPr>
        <a:xfrm>
          <a:off x="12087376" y="6788431"/>
          <a:ext cx="2524912" cy="16832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600" kern="1200" dirty="0" smtClean="0"/>
            <a:t> </a:t>
          </a:r>
          <a:endParaRPr lang="en-US" sz="2600" kern="1200" dirty="0"/>
        </a:p>
      </dsp:txBody>
      <dsp:txXfrm>
        <a:off x="12087376" y="6788431"/>
        <a:ext cx="2524912" cy="1683274"/>
      </dsp:txXfrm>
    </dsp:sp>
    <dsp:sp modelId="{6DF9CA54-8F0A-4CFC-86CB-13FA5C97BAB8}">
      <dsp:nvSpPr>
        <dsp:cNvPr id="0" name=""/>
        <dsp:cNvSpPr/>
      </dsp:nvSpPr>
      <dsp:spPr>
        <a:xfrm>
          <a:off x="15033107" y="6792640"/>
          <a:ext cx="2550582" cy="16832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7A0595-3C3B-4FA1-B5A7-8E255AFB2DF5}">
      <dsp:nvSpPr>
        <dsp:cNvPr id="0" name=""/>
        <dsp:cNvSpPr/>
      </dsp:nvSpPr>
      <dsp:spPr>
        <a:xfrm>
          <a:off x="17150035" y="6788431"/>
          <a:ext cx="2524912" cy="16832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600" kern="1200" dirty="0"/>
        </a:p>
      </dsp:txBody>
      <dsp:txXfrm>
        <a:off x="17150035" y="6788431"/>
        <a:ext cx="2524912" cy="168327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PictureHierarchy">
  <dgm:title val=""/>
  <dgm:desc val=""/>
  <dgm:catLst>
    <dgm:cat type="hierarchy" pri="1750"/>
    <dgm:cat type="picture" pri="23000"/>
    <dgm:cat type="pictureconvert" pri="2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5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h" for="ch" forName="image" refType="h" fact="0.8"/>
              <dgm:constr type="w" for="ch" forName="image" refType="h" refFor="ch" refForName="image"/>
              <dgm:constr type="t" for="ch" forName="image" refType="h" fact="0.1"/>
              <dgm:constr type="l" for="ch" forName="image"/>
              <dgm:constr type="w" for="ch" forName="text" refType="w" fact="0.6"/>
              <dgm:constr type="h" for="ch" forName="text" refType="h" fact="0.8"/>
              <dgm:constr type="t" for="ch" forName="text" refType="w" fact="0.04"/>
              <dgm:constr type="l" for="ch" forName="text" refType="w" fact="0.4"/>
            </dgm:constrLst>
            <dgm:ruleLst/>
            <dgm:layoutNode name="image" styleLbl="node0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  <dgm:layoutNode name="text" styleLbl="revTx">
              <dgm:varLst>
                <dgm:chPref val="3"/>
              </dgm:varLst>
              <dgm:alg type="tx">
                <dgm:param type="parTxLTRAlign" val="l"/>
                <dgm:param type="parTxRTLAlign" val="r"/>
              </dgm:alg>
              <dgm:shape xmlns:r="http://schemas.openxmlformats.org/officeDocument/2006/relationships" type="rect" r:blip="">
                <dgm:adjLst/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image"/>
                    <dgm:param type="dstNode" val="image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h" for="ch" forName="image2" refType="h" fact="0.8"/>
                      <dgm:constr type="w" for="ch" forName="image2" refType="h" refFor="ch" refForName="image2"/>
                      <dgm:constr type="t" for="ch" forName="image2" refType="h" fact="0.1"/>
                      <dgm:constr type="l" for="ch" forName="image2"/>
                      <dgm:constr type="w" for="ch" forName="text2" refType="w" fact="0.6"/>
                      <dgm:constr type="h" for="ch" forName="text2" refType="h" fact="0.8"/>
                      <dgm:constr type="t" for="ch" forName="text2" refType="w" fact="0.04"/>
                      <dgm:constr type="l" for="ch" forName="text2" refType="w" fact="0.4"/>
                    </dgm:constrLst>
                    <dgm:ruleLst/>
                    <dgm:layoutNode name="image2">
                      <dgm:alg type="sp"/>
                      <dgm:shape xmlns:r="http://schemas.openxmlformats.org/officeDocument/2006/relationships" type="ellipse" r:blip="" blipPhldr="1">
                        <dgm:adjLst/>
                      </dgm:shape>
                      <dgm:presOf/>
                      <dgm:constrLst/>
                      <dgm:ruleLst/>
                    </dgm:layoutNode>
                    <dgm:layoutNode name="text2" styleLbl="revTx">
                      <dgm:varLst>
                        <dgm:chPref val="3"/>
                      </dgm:varLst>
                      <dgm:alg type="tx">
                        <dgm:param type="parTxLTRAlign" val="l"/>
                        <dgm:param type="parTxRTLAlign" val="r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image2"/>
                            <dgm:param type="dstNode" val="image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h" for="ch" forName="image3" refType="h" fact="0.8"/>
                              <dgm:constr type="w" for="ch" forName="image3" refType="h" refFor="ch" refForName="image3"/>
                              <dgm:constr type="t" for="ch" forName="image3" refType="h" fact="0.1"/>
                              <dgm:constr type="l" for="ch" forName="image3"/>
                              <dgm:constr type="w" for="ch" forName="text3" refType="w" fact="0.6"/>
                              <dgm:constr type="h" for="ch" forName="text3" refType="h" fact="0.8"/>
                              <dgm:constr type="t" for="ch" forName="text3" refType="w" fact="0.04"/>
                              <dgm:constr type="l" for="ch" forName="text3" refType="w" fact="0.4"/>
                            </dgm:constrLst>
                            <dgm:ruleLst/>
                            <dgm:layoutNode name="image3">
                              <dgm:alg type="sp"/>
                              <dgm:shape xmlns:r="http://schemas.openxmlformats.org/officeDocument/2006/relationships" type="ellipse" r:blip="" blipPhldr="1">
                                <dgm:adjLst/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revTx">
                              <dgm:varLst>
                                <dgm:chPref val="3"/>
                              </dgm:varLst>
                              <dgm:alg type="tx">
                                <dgm:param type="parTxLTRAlign" val="l"/>
                                <dgm:param type="parTxRTLAlign" val="r"/>
                              </dgm:alg>
                              <dgm:shape xmlns:r="http://schemas.openxmlformats.org/officeDocument/2006/relationships" type="rect" r:blip="">
                                <dgm:adjLst/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3"/>
                                        <dgm:param type="dstNode" val="image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4"/>
                                        <dgm:param type="dstNode" val="image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h" for="ch" forName="image4" refType="h" fact="0.8"/>
                                      <dgm:constr type="w" for="ch" forName="image4" refType="h" refFor="ch" refForName="image4"/>
                                      <dgm:constr type="t" for="ch" forName="image4" refType="h" fact="0.1"/>
                                      <dgm:constr type="l" for="ch" forName="image4"/>
                                      <dgm:constr type="w" for="ch" forName="text4" refType="w" fact="0.6"/>
                                      <dgm:constr type="h" for="ch" forName="text4" refType="h" fact="0.8"/>
                                      <dgm:constr type="t" for="ch" forName="text4" refType="w" fact="0.04"/>
                                      <dgm:constr type="l" for="ch" forName="text4" refType="w" fact="0.4"/>
                                    </dgm:constrLst>
                                    <dgm:ruleLst/>
                                    <dgm:layoutNode name="image4">
                                      <dgm:alg type="sp"/>
                                      <dgm:shape xmlns:r="http://schemas.openxmlformats.org/officeDocument/2006/relationships" type="ellipse" r:blip="" blipPhldr="1">
                                        <dgm:adjLst/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revTx">
                                      <dgm:varLst>
                                        <dgm:chPref val="3"/>
                                      </dgm:varLst>
                                      <dgm:alg type="tx">
                                        <dgm:param type="parTxLTRAlign" val="l"/>
                                        <dgm:param type="parTxRTLAlign" val="r"/>
                                      </dgm:alg>
                                      <dgm:shape xmlns:r="http://schemas.openxmlformats.org/officeDocument/2006/relationships" type="rect" r:blip="">
                                        <dgm:adjLst/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157FF8-8AD0-4F9D-9DB5-EB993C56AB68}" type="datetimeFigureOut">
              <a:rPr lang="de-DE" smtClean="0"/>
              <a:t>12/22/1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066100-513B-48C4-BFBA-B7C10D12787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21128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066100-513B-48C4-BFBA-B7C10D12787C}" type="slidenum">
              <a:rPr lang="de-DE" smtClean="0"/>
              <a:t>6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914105"/>
      </p:ext>
    </p:extLst>
  </p:cSld>
  <p:clrMapOvr>
    <a:masterClrMapping/>
  </p:clrMapOvr>
  <p:transition xmlns:p14="http://schemas.microsoft.com/office/powerpoint/2010/main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219200" y="2975483"/>
            <a:ext cx="21945600" cy="9353550"/>
          </a:xfrm>
        </p:spPr>
        <p:txBody>
          <a:bodyPr>
            <a:normAutofit/>
          </a:bodyPr>
          <a:lstStyle>
            <a:lvl1pPr>
              <a:defRPr sz="4300">
                <a:solidFill>
                  <a:schemeClr val="tx1"/>
                </a:solidFill>
              </a:defRPr>
            </a:lvl1pPr>
            <a:lvl2pPr marL="1228397" indent="-548055">
              <a:defRPr sz="3800">
                <a:solidFill>
                  <a:schemeClr val="tx1"/>
                </a:solidFill>
              </a:defRPr>
            </a:lvl2pPr>
            <a:lvl3pPr marL="1768890" indent="-540495">
              <a:defRPr sz="3300">
                <a:solidFill>
                  <a:schemeClr val="tx1"/>
                </a:solidFill>
              </a:defRPr>
            </a:lvl3pPr>
            <a:lvl4pPr>
              <a:defRPr sz="4300">
                <a:solidFill>
                  <a:schemeClr val="tx1"/>
                </a:solidFill>
              </a:defRPr>
            </a:lvl4pPr>
            <a:lvl5pPr>
              <a:defRPr sz="4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219200" y="1875748"/>
            <a:ext cx="21945600" cy="941796"/>
          </a:xfrm>
        </p:spPr>
        <p:txBody>
          <a:bodyPr wrap="square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00" baseline="0">
                <a:solidFill>
                  <a:schemeClr val="tx1"/>
                </a:solidFill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1219200" y="342901"/>
            <a:ext cx="21945600" cy="1403462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3" name="Footer Placeholder 22"/>
          <p:cNvSpPr>
            <a:spLocks noGrp="1"/>
          </p:cNvSpPr>
          <p:nvPr>
            <p:ph type="ftr" sz="quarter" idx="11"/>
          </p:nvPr>
        </p:nvSpPr>
        <p:spPr bwMode="gray">
          <a:xfrm>
            <a:off x="1219203" y="13151078"/>
            <a:ext cx="2477104" cy="215444"/>
          </a:xfrm>
          <a:prstGeom prst="rect">
            <a:avLst/>
          </a:prstGeom>
        </p:spPr>
        <p:txBody>
          <a:bodyPr lIns="217709" tIns="108855" rIns="217709" bIns="108855"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© 2014 Teradata</a:t>
            </a:r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794651" y="13183209"/>
            <a:ext cx="6794699" cy="283162"/>
          </a:xfrm>
        </p:spPr>
        <p:txBody>
          <a:bodyPr wrap="square">
            <a:noAutofit/>
          </a:bodyPr>
          <a:lstStyle>
            <a:lvl1pPr marL="0" indent="0" algn="ctr" defTabSz="217709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7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#Insert Hasht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237292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219200" y="2975483"/>
            <a:ext cx="21945600" cy="9353550"/>
          </a:xfrm>
        </p:spPr>
        <p:txBody>
          <a:bodyPr>
            <a:normAutofit/>
          </a:bodyPr>
          <a:lstStyle>
            <a:lvl1pPr>
              <a:defRPr sz="4300">
                <a:solidFill>
                  <a:schemeClr val="tx1"/>
                </a:solidFill>
              </a:defRPr>
            </a:lvl1pPr>
            <a:lvl2pPr marL="1228397" indent="-548055">
              <a:defRPr sz="3800">
                <a:solidFill>
                  <a:schemeClr val="tx1"/>
                </a:solidFill>
              </a:defRPr>
            </a:lvl2pPr>
            <a:lvl3pPr marL="1768890" indent="-540495">
              <a:defRPr sz="3300">
                <a:solidFill>
                  <a:schemeClr val="tx1"/>
                </a:solidFill>
              </a:defRPr>
            </a:lvl3pPr>
            <a:lvl4pPr>
              <a:defRPr sz="4300">
                <a:solidFill>
                  <a:schemeClr val="tx1"/>
                </a:solidFill>
              </a:defRPr>
            </a:lvl4pPr>
            <a:lvl5pPr>
              <a:defRPr sz="4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219200" y="1875748"/>
            <a:ext cx="21945600" cy="941796"/>
          </a:xfrm>
        </p:spPr>
        <p:txBody>
          <a:bodyPr wrap="square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00" baseline="0">
                <a:solidFill>
                  <a:schemeClr val="tx1"/>
                </a:solidFill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1219200" y="342901"/>
            <a:ext cx="21945600" cy="1403462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3" name="Footer Placeholder 22"/>
          <p:cNvSpPr>
            <a:spLocks noGrp="1"/>
          </p:cNvSpPr>
          <p:nvPr>
            <p:ph type="ftr" sz="quarter" idx="11"/>
          </p:nvPr>
        </p:nvSpPr>
        <p:spPr bwMode="gray">
          <a:xfrm>
            <a:off x="1219203" y="13151078"/>
            <a:ext cx="2477104" cy="215444"/>
          </a:xfrm>
          <a:prstGeom prst="rect">
            <a:avLst/>
          </a:prstGeom>
        </p:spPr>
        <p:txBody>
          <a:bodyPr lIns="217709" tIns="108855" rIns="217709" bIns="108855"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© 2014 Teradata</a:t>
            </a:r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794651" y="13183209"/>
            <a:ext cx="6794699" cy="283162"/>
          </a:xfrm>
        </p:spPr>
        <p:txBody>
          <a:bodyPr wrap="square">
            <a:noAutofit/>
          </a:bodyPr>
          <a:lstStyle>
            <a:lvl1pPr marL="0" indent="0" algn="ctr" defTabSz="217709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7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#Insert Hasht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237292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219200" y="2975483"/>
            <a:ext cx="21945600" cy="9353550"/>
          </a:xfrm>
        </p:spPr>
        <p:txBody>
          <a:bodyPr>
            <a:normAutofit/>
          </a:bodyPr>
          <a:lstStyle>
            <a:lvl1pPr>
              <a:defRPr sz="4300">
                <a:solidFill>
                  <a:schemeClr val="tx1"/>
                </a:solidFill>
              </a:defRPr>
            </a:lvl1pPr>
            <a:lvl2pPr marL="1228397" indent="-548055">
              <a:defRPr sz="3800">
                <a:solidFill>
                  <a:schemeClr val="tx1"/>
                </a:solidFill>
              </a:defRPr>
            </a:lvl2pPr>
            <a:lvl3pPr marL="1768890" indent="-540495">
              <a:defRPr sz="3300">
                <a:solidFill>
                  <a:schemeClr val="tx1"/>
                </a:solidFill>
              </a:defRPr>
            </a:lvl3pPr>
            <a:lvl4pPr>
              <a:defRPr sz="4300">
                <a:solidFill>
                  <a:schemeClr val="tx1"/>
                </a:solidFill>
              </a:defRPr>
            </a:lvl4pPr>
            <a:lvl5pPr>
              <a:defRPr sz="4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219200" y="1875748"/>
            <a:ext cx="21945600" cy="941796"/>
          </a:xfrm>
        </p:spPr>
        <p:txBody>
          <a:bodyPr wrap="square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00" baseline="0">
                <a:solidFill>
                  <a:schemeClr val="tx1"/>
                </a:solidFill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1219200" y="342901"/>
            <a:ext cx="21945600" cy="1403462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3" name="Footer Placeholder 22"/>
          <p:cNvSpPr>
            <a:spLocks noGrp="1"/>
          </p:cNvSpPr>
          <p:nvPr>
            <p:ph type="ftr" sz="quarter" idx="11"/>
          </p:nvPr>
        </p:nvSpPr>
        <p:spPr bwMode="gray">
          <a:xfrm>
            <a:off x="1219203" y="13151078"/>
            <a:ext cx="2477104" cy="215444"/>
          </a:xfrm>
          <a:prstGeom prst="rect">
            <a:avLst/>
          </a:prstGeom>
        </p:spPr>
        <p:txBody>
          <a:bodyPr lIns="217709" tIns="108855" rIns="217709" bIns="108855"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© 2014 Teradata</a:t>
            </a:r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794651" y="13183209"/>
            <a:ext cx="6794699" cy="283162"/>
          </a:xfrm>
        </p:spPr>
        <p:txBody>
          <a:bodyPr wrap="square">
            <a:noAutofit/>
          </a:bodyPr>
          <a:lstStyle>
            <a:lvl1pPr marL="0" indent="0" algn="ctr" defTabSz="217709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7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#Insert Hasht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237292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219200" y="2975483"/>
            <a:ext cx="21945600" cy="9353550"/>
          </a:xfrm>
        </p:spPr>
        <p:txBody>
          <a:bodyPr>
            <a:normAutofit/>
          </a:bodyPr>
          <a:lstStyle>
            <a:lvl1pPr>
              <a:defRPr sz="4300">
                <a:solidFill>
                  <a:schemeClr val="tx1"/>
                </a:solidFill>
              </a:defRPr>
            </a:lvl1pPr>
            <a:lvl2pPr marL="1228397" indent="-548055">
              <a:defRPr sz="3800">
                <a:solidFill>
                  <a:schemeClr val="tx1"/>
                </a:solidFill>
              </a:defRPr>
            </a:lvl2pPr>
            <a:lvl3pPr marL="1768890" indent="-540495">
              <a:defRPr sz="3300">
                <a:solidFill>
                  <a:schemeClr val="tx1"/>
                </a:solidFill>
              </a:defRPr>
            </a:lvl3pPr>
            <a:lvl4pPr>
              <a:defRPr sz="4300">
                <a:solidFill>
                  <a:schemeClr val="tx1"/>
                </a:solidFill>
              </a:defRPr>
            </a:lvl4pPr>
            <a:lvl5pPr>
              <a:defRPr sz="4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219200" y="1875748"/>
            <a:ext cx="21945600" cy="941796"/>
          </a:xfrm>
        </p:spPr>
        <p:txBody>
          <a:bodyPr wrap="square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00" baseline="0">
                <a:solidFill>
                  <a:schemeClr val="tx1"/>
                </a:solidFill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1219200" y="342901"/>
            <a:ext cx="21945600" cy="1403462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3" name="Footer Placeholder 22"/>
          <p:cNvSpPr>
            <a:spLocks noGrp="1"/>
          </p:cNvSpPr>
          <p:nvPr>
            <p:ph type="ftr" sz="quarter" idx="11"/>
          </p:nvPr>
        </p:nvSpPr>
        <p:spPr bwMode="gray">
          <a:xfrm>
            <a:off x="1219203" y="13151078"/>
            <a:ext cx="2477104" cy="215444"/>
          </a:xfrm>
          <a:prstGeom prst="rect">
            <a:avLst/>
          </a:prstGeom>
        </p:spPr>
        <p:txBody>
          <a:bodyPr lIns="217709" tIns="108855" rIns="217709" bIns="108855"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© 2014 Teradata</a:t>
            </a:r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794651" y="13183209"/>
            <a:ext cx="6794699" cy="283162"/>
          </a:xfrm>
        </p:spPr>
        <p:txBody>
          <a:bodyPr wrap="square">
            <a:noAutofit/>
          </a:bodyPr>
          <a:lstStyle>
            <a:lvl1pPr marL="0" indent="0" algn="ctr" defTabSz="217709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7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#Insert Hasht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237292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79927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5018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43760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13544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219200" y="2975483"/>
            <a:ext cx="21945600" cy="9353550"/>
          </a:xfrm>
        </p:spPr>
        <p:txBody>
          <a:bodyPr>
            <a:normAutofit/>
          </a:bodyPr>
          <a:lstStyle>
            <a:lvl1pPr>
              <a:defRPr sz="4300">
                <a:solidFill>
                  <a:schemeClr val="tx1"/>
                </a:solidFill>
              </a:defRPr>
            </a:lvl1pPr>
            <a:lvl2pPr marL="1228397" indent="-548055">
              <a:defRPr sz="3800">
                <a:solidFill>
                  <a:schemeClr val="tx1"/>
                </a:solidFill>
              </a:defRPr>
            </a:lvl2pPr>
            <a:lvl3pPr marL="1768890" indent="-540495">
              <a:defRPr sz="3300">
                <a:solidFill>
                  <a:schemeClr val="tx1"/>
                </a:solidFill>
              </a:defRPr>
            </a:lvl3pPr>
            <a:lvl4pPr>
              <a:defRPr sz="4300">
                <a:solidFill>
                  <a:schemeClr val="tx1"/>
                </a:solidFill>
              </a:defRPr>
            </a:lvl4pPr>
            <a:lvl5pPr>
              <a:defRPr sz="4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219200" y="1875748"/>
            <a:ext cx="21945600" cy="941796"/>
          </a:xfrm>
        </p:spPr>
        <p:txBody>
          <a:bodyPr wrap="square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00" baseline="0">
                <a:solidFill>
                  <a:schemeClr val="tx1"/>
                </a:solidFill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1219200" y="342901"/>
            <a:ext cx="21945600" cy="1403462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3" name="Footer Placeholder 22"/>
          <p:cNvSpPr>
            <a:spLocks noGrp="1"/>
          </p:cNvSpPr>
          <p:nvPr>
            <p:ph type="ftr" sz="quarter" idx="11"/>
          </p:nvPr>
        </p:nvSpPr>
        <p:spPr bwMode="gray">
          <a:xfrm>
            <a:off x="1219203" y="13151078"/>
            <a:ext cx="2477104" cy="215444"/>
          </a:xfrm>
          <a:prstGeom prst="rect">
            <a:avLst/>
          </a:prstGeom>
        </p:spPr>
        <p:txBody>
          <a:bodyPr lIns="217709" tIns="108855" rIns="217709" bIns="108855"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© 2014 Teradata</a:t>
            </a:r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794651" y="13183209"/>
            <a:ext cx="6794699" cy="283162"/>
          </a:xfrm>
        </p:spPr>
        <p:txBody>
          <a:bodyPr wrap="square">
            <a:noAutofit/>
          </a:bodyPr>
          <a:lstStyle>
            <a:lvl1pPr marL="0" indent="0" algn="ctr" defTabSz="217709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7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#Insert Hasht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237292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5833421"/>
      </p:ext>
    </p:extLst>
  </p:cSld>
  <p:clrMapOvr>
    <a:masterClrMapping/>
  </p:clrMapOvr>
  <p:transition xmlns:p14="http://schemas.microsoft.com/office/powerpoint/2010/main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219200" y="2975483"/>
            <a:ext cx="21945600" cy="9353550"/>
          </a:xfrm>
        </p:spPr>
        <p:txBody>
          <a:bodyPr>
            <a:normAutofit/>
          </a:bodyPr>
          <a:lstStyle>
            <a:lvl1pPr>
              <a:defRPr sz="4300">
                <a:solidFill>
                  <a:schemeClr val="tx1"/>
                </a:solidFill>
              </a:defRPr>
            </a:lvl1pPr>
            <a:lvl2pPr marL="1228397" indent="-548055">
              <a:defRPr sz="3800">
                <a:solidFill>
                  <a:schemeClr val="tx1"/>
                </a:solidFill>
              </a:defRPr>
            </a:lvl2pPr>
            <a:lvl3pPr marL="1768890" indent="-540495">
              <a:defRPr sz="3300">
                <a:solidFill>
                  <a:schemeClr val="tx1"/>
                </a:solidFill>
              </a:defRPr>
            </a:lvl3pPr>
            <a:lvl4pPr>
              <a:defRPr sz="4300">
                <a:solidFill>
                  <a:schemeClr val="tx1"/>
                </a:solidFill>
              </a:defRPr>
            </a:lvl4pPr>
            <a:lvl5pPr>
              <a:defRPr sz="4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219200" y="1875748"/>
            <a:ext cx="21945600" cy="941796"/>
          </a:xfrm>
        </p:spPr>
        <p:txBody>
          <a:bodyPr wrap="square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00" baseline="0">
                <a:solidFill>
                  <a:schemeClr val="tx1"/>
                </a:solidFill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1219200" y="342901"/>
            <a:ext cx="21945600" cy="1403462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3" name="Footer Placeholder 22"/>
          <p:cNvSpPr>
            <a:spLocks noGrp="1"/>
          </p:cNvSpPr>
          <p:nvPr>
            <p:ph type="ftr" sz="quarter" idx="11"/>
          </p:nvPr>
        </p:nvSpPr>
        <p:spPr bwMode="gray">
          <a:xfrm>
            <a:off x="1219203" y="13151078"/>
            <a:ext cx="2477104" cy="215444"/>
          </a:xfrm>
          <a:prstGeom prst="rect">
            <a:avLst/>
          </a:prstGeom>
        </p:spPr>
        <p:txBody>
          <a:bodyPr lIns="217709" tIns="108855" rIns="217709" bIns="108855"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© 2014 Teradata</a:t>
            </a:r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794651" y="13183209"/>
            <a:ext cx="6794699" cy="283162"/>
          </a:xfrm>
        </p:spPr>
        <p:txBody>
          <a:bodyPr wrap="square">
            <a:noAutofit/>
          </a:bodyPr>
          <a:lstStyle>
            <a:lvl1pPr marL="0" indent="0" algn="ctr" defTabSz="217709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7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#Insert Hasht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237292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219200" y="2975483"/>
            <a:ext cx="21945600" cy="9353550"/>
          </a:xfrm>
        </p:spPr>
        <p:txBody>
          <a:bodyPr>
            <a:normAutofit/>
          </a:bodyPr>
          <a:lstStyle>
            <a:lvl1pPr>
              <a:defRPr sz="4300">
                <a:solidFill>
                  <a:schemeClr val="tx1"/>
                </a:solidFill>
              </a:defRPr>
            </a:lvl1pPr>
            <a:lvl2pPr marL="1228397" indent="-548055">
              <a:defRPr sz="3800">
                <a:solidFill>
                  <a:schemeClr val="tx1"/>
                </a:solidFill>
              </a:defRPr>
            </a:lvl2pPr>
            <a:lvl3pPr marL="1768890" indent="-540495">
              <a:defRPr sz="3300">
                <a:solidFill>
                  <a:schemeClr val="tx1"/>
                </a:solidFill>
              </a:defRPr>
            </a:lvl3pPr>
            <a:lvl4pPr>
              <a:defRPr sz="4300">
                <a:solidFill>
                  <a:schemeClr val="tx1"/>
                </a:solidFill>
              </a:defRPr>
            </a:lvl4pPr>
            <a:lvl5pPr>
              <a:defRPr sz="4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219200" y="1875748"/>
            <a:ext cx="21945600" cy="941796"/>
          </a:xfrm>
        </p:spPr>
        <p:txBody>
          <a:bodyPr wrap="square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00" baseline="0">
                <a:solidFill>
                  <a:schemeClr val="tx1"/>
                </a:solidFill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1219200" y="342901"/>
            <a:ext cx="21945600" cy="1403462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3" name="Footer Placeholder 22"/>
          <p:cNvSpPr>
            <a:spLocks noGrp="1"/>
          </p:cNvSpPr>
          <p:nvPr>
            <p:ph type="ftr" sz="quarter" idx="11"/>
          </p:nvPr>
        </p:nvSpPr>
        <p:spPr bwMode="gray">
          <a:xfrm>
            <a:off x="1219203" y="13151078"/>
            <a:ext cx="2477104" cy="215444"/>
          </a:xfrm>
          <a:prstGeom prst="rect">
            <a:avLst/>
          </a:prstGeom>
        </p:spPr>
        <p:txBody>
          <a:bodyPr lIns="217709" tIns="108855" rIns="217709" bIns="108855"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© 2014 Teradata</a:t>
            </a:r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794651" y="13183209"/>
            <a:ext cx="6794699" cy="283162"/>
          </a:xfrm>
        </p:spPr>
        <p:txBody>
          <a:bodyPr wrap="square">
            <a:noAutofit/>
          </a:bodyPr>
          <a:lstStyle>
            <a:lvl1pPr marL="0" indent="0" algn="ctr" defTabSz="217709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7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#Insert Hasht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237292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219200" y="2975483"/>
            <a:ext cx="21945600" cy="9353550"/>
          </a:xfrm>
        </p:spPr>
        <p:txBody>
          <a:bodyPr>
            <a:normAutofit/>
          </a:bodyPr>
          <a:lstStyle>
            <a:lvl1pPr>
              <a:defRPr sz="4300">
                <a:solidFill>
                  <a:schemeClr val="tx1"/>
                </a:solidFill>
              </a:defRPr>
            </a:lvl1pPr>
            <a:lvl2pPr marL="1228397" indent="-548055">
              <a:defRPr sz="3800">
                <a:solidFill>
                  <a:schemeClr val="tx1"/>
                </a:solidFill>
              </a:defRPr>
            </a:lvl2pPr>
            <a:lvl3pPr marL="1768890" indent="-540495">
              <a:defRPr sz="3300">
                <a:solidFill>
                  <a:schemeClr val="tx1"/>
                </a:solidFill>
              </a:defRPr>
            </a:lvl3pPr>
            <a:lvl4pPr>
              <a:defRPr sz="4300">
                <a:solidFill>
                  <a:schemeClr val="tx1"/>
                </a:solidFill>
              </a:defRPr>
            </a:lvl4pPr>
            <a:lvl5pPr>
              <a:defRPr sz="4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219200" y="1875748"/>
            <a:ext cx="21945600" cy="941796"/>
          </a:xfrm>
        </p:spPr>
        <p:txBody>
          <a:bodyPr wrap="square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00" baseline="0">
                <a:solidFill>
                  <a:schemeClr val="tx1"/>
                </a:solidFill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1219200" y="342901"/>
            <a:ext cx="21945600" cy="1403462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3" name="Footer Placeholder 22"/>
          <p:cNvSpPr>
            <a:spLocks noGrp="1"/>
          </p:cNvSpPr>
          <p:nvPr>
            <p:ph type="ftr" sz="quarter" idx="11"/>
          </p:nvPr>
        </p:nvSpPr>
        <p:spPr bwMode="gray">
          <a:xfrm>
            <a:off x="1219203" y="13151078"/>
            <a:ext cx="2477104" cy="215444"/>
          </a:xfrm>
          <a:prstGeom prst="rect">
            <a:avLst/>
          </a:prstGeom>
        </p:spPr>
        <p:txBody>
          <a:bodyPr lIns="217709" tIns="108855" rIns="217709" bIns="108855"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© 2014 Teradata</a:t>
            </a:r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794651" y="13183209"/>
            <a:ext cx="6794699" cy="283162"/>
          </a:xfrm>
        </p:spPr>
        <p:txBody>
          <a:bodyPr wrap="square">
            <a:noAutofit/>
          </a:bodyPr>
          <a:lstStyle>
            <a:lvl1pPr marL="0" indent="0" algn="ctr" defTabSz="217709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7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#Insert Hasht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237292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219200" y="2975483"/>
            <a:ext cx="21945600" cy="9353550"/>
          </a:xfrm>
        </p:spPr>
        <p:txBody>
          <a:bodyPr>
            <a:normAutofit/>
          </a:bodyPr>
          <a:lstStyle>
            <a:lvl1pPr>
              <a:defRPr sz="4300">
                <a:solidFill>
                  <a:schemeClr val="tx1"/>
                </a:solidFill>
              </a:defRPr>
            </a:lvl1pPr>
            <a:lvl2pPr marL="1228397" indent="-548055">
              <a:defRPr sz="3800">
                <a:solidFill>
                  <a:schemeClr val="tx1"/>
                </a:solidFill>
              </a:defRPr>
            </a:lvl2pPr>
            <a:lvl3pPr marL="1768890" indent="-540495">
              <a:defRPr sz="3300">
                <a:solidFill>
                  <a:schemeClr val="tx1"/>
                </a:solidFill>
              </a:defRPr>
            </a:lvl3pPr>
            <a:lvl4pPr>
              <a:defRPr sz="4300">
                <a:solidFill>
                  <a:schemeClr val="tx1"/>
                </a:solidFill>
              </a:defRPr>
            </a:lvl4pPr>
            <a:lvl5pPr>
              <a:defRPr sz="4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219200" y="1875748"/>
            <a:ext cx="21945600" cy="941796"/>
          </a:xfrm>
        </p:spPr>
        <p:txBody>
          <a:bodyPr wrap="square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00" baseline="0">
                <a:solidFill>
                  <a:schemeClr val="tx1"/>
                </a:solidFill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1219200" y="342901"/>
            <a:ext cx="21945600" cy="1403462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3" name="Footer Placeholder 22"/>
          <p:cNvSpPr>
            <a:spLocks noGrp="1"/>
          </p:cNvSpPr>
          <p:nvPr>
            <p:ph type="ftr" sz="quarter" idx="11"/>
          </p:nvPr>
        </p:nvSpPr>
        <p:spPr bwMode="gray">
          <a:xfrm>
            <a:off x="1219203" y="13151078"/>
            <a:ext cx="2477104" cy="215444"/>
          </a:xfrm>
          <a:prstGeom prst="rect">
            <a:avLst/>
          </a:prstGeom>
        </p:spPr>
        <p:txBody>
          <a:bodyPr lIns="217709" tIns="108855" rIns="217709" bIns="108855"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© 2014 Teradata</a:t>
            </a:r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794651" y="13183209"/>
            <a:ext cx="6794699" cy="283162"/>
          </a:xfrm>
        </p:spPr>
        <p:txBody>
          <a:bodyPr wrap="square">
            <a:noAutofit/>
          </a:bodyPr>
          <a:lstStyle>
            <a:lvl1pPr marL="0" indent="0" algn="ctr" defTabSz="217709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7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#Insert Hasht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237292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219200" y="2975483"/>
            <a:ext cx="21945600" cy="9353550"/>
          </a:xfrm>
        </p:spPr>
        <p:txBody>
          <a:bodyPr>
            <a:normAutofit/>
          </a:bodyPr>
          <a:lstStyle>
            <a:lvl1pPr>
              <a:defRPr sz="4300">
                <a:solidFill>
                  <a:schemeClr val="tx1"/>
                </a:solidFill>
              </a:defRPr>
            </a:lvl1pPr>
            <a:lvl2pPr marL="1228397" indent="-548055">
              <a:defRPr sz="3800">
                <a:solidFill>
                  <a:schemeClr val="tx1"/>
                </a:solidFill>
              </a:defRPr>
            </a:lvl2pPr>
            <a:lvl3pPr marL="1768890" indent="-540495">
              <a:defRPr sz="3300">
                <a:solidFill>
                  <a:schemeClr val="tx1"/>
                </a:solidFill>
              </a:defRPr>
            </a:lvl3pPr>
            <a:lvl4pPr>
              <a:defRPr sz="4300">
                <a:solidFill>
                  <a:schemeClr val="tx1"/>
                </a:solidFill>
              </a:defRPr>
            </a:lvl4pPr>
            <a:lvl5pPr>
              <a:defRPr sz="4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219200" y="1875748"/>
            <a:ext cx="21945600" cy="941796"/>
          </a:xfrm>
        </p:spPr>
        <p:txBody>
          <a:bodyPr wrap="square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00" baseline="0">
                <a:solidFill>
                  <a:schemeClr val="tx1"/>
                </a:solidFill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1219200" y="342901"/>
            <a:ext cx="21945600" cy="1403462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3" name="Footer Placeholder 22"/>
          <p:cNvSpPr>
            <a:spLocks noGrp="1"/>
          </p:cNvSpPr>
          <p:nvPr>
            <p:ph type="ftr" sz="quarter" idx="11"/>
          </p:nvPr>
        </p:nvSpPr>
        <p:spPr bwMode="gray">
          <a:xfrm>
            <a:off x="1219203" y="13151078"/>
            <a:ext cx="2477104" cy="215444"/>
          </a:xfrm>
          <a:prstGeom prst="rect">
            <a:avLst/>
          </a:prstGeom>
        </p:spPr>
        <p:txBody>
          <a:bodyPr lIns="217709" tIns="108855" rIns="217709" bIns="108855"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© 2014 Teradata</a:t>
            </a:r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794651" y="13183209"/>
            <a:ext cx="6794699" cy="283162"/>
          </a:xfrm>
        </p:spPr>
        <p:txBody>
          <a:bodyPr wrap="square">
            <a:noAutofit/>
          </a:bodyPr>
          <a:lstStyle>
            <a:lvl1pPr marL="0" indent="0" algn="ctr" defTabSz="217709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7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#Insert Hasht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237292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219200" y="2975483"/>
            <a:ext cx="21945600" cy="9353550"/>
          </a:xfrm>
        </p:spPr>
        <p:txBody>
          <a:bodyPr>
            <a:normAutofit/>
          </a:bodyPr>
          <a:lstStyle>
            <a:lvl1pPr>
              <a:defRPr sz="4300">
                <a:solidFill>
                  <a:schemeClr val="tx1"/>
                </a:solidFill>
              </a:defRPr>
            </a:lvl1pPr>
            <a:lvl2pPr marL="1228397" indent="-548055">
              <a:defRPr sz="3800">
                <a:solidFill>
                  <a:schemeClr val="tx1"/>
                </a:solidFill>
              </a:defRPr>
            </a:lvl2pPr>
            <a:lvl3pPr marL="1768890" indent="-540495">
              <a:defRPr sz="3300">
                <a:solidFill>
                  <a:schemeClr val="tx1"/>
                </a:solidFill>
              </a:defRPr>
            </a:lvl3pPr>
            <a:lvl4pPr>
              <a:defRPr sz="4300">
                <a:solidFill>
                  <a:schemeClr val="tx1"/>
                </a:solidFill>
              </a:defRPr>
            </a:lvl4pPr>
            <a:lvl5pPr>
              <a:defRPr sz="4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219200" y="1875748"/>
            <a:ext cx="21945600" cy="941796"/>
          </a:xfrm>
        </p:spPr>
        <p:txBody>
          <a:bodyPr wrap="square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00" baseline="0">
                <a:solidFill>
                  <a:schemeClr val="tx1"/>
                </a:solidFill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1219200" y="342901"/>
            <a:ext cx="21945600" cy="1403462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3" name="Footer Placeholder 22"/>
          <p:cNvSpPr>
            <a:spLocks noGrp="1"/>
          </p:cNvSpPr>
          <p:nvPr>
            <p:ph type="ftr" sz="quarter" idx="11"/>
          </p:nvPr>
        </p:nvSpPr>
        <p:spPr bwMode="gray">
          <a:xfrm>
            <a:off x="1219203" y="13151078"/>
            <a:ext cx="2477104" cy="215444"/>
          </a:xfrm>
          <a:prstGeom prst="rect">
            <a:avLst/>
          </a:prstGeom>
        </p:spPr>
        <p:txBody>
          <a:bodyPr lIns="217709" tIns="108855" rIns="217709" bIns="108855"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© 2014 Teradata</a:t>
            </a:r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794651" y="13183209"/>
            <a:ext cx="6794699" cy="283162"/>
          </a:xfrm>
        </p:spPr>
        <p:txBody>
          <a:bodyPr wrap="square">
            <a:noAutofit/>
          </a:bodyPr>
          <a:lstStyle>
            <a:lvl1pPr marL="0" indent="0" algn="ctr" defTabSz="217709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7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#Insert Hasht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237292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219200" y="2975483"/>
            <a:ext cx="21945600" cy="9353550"/>
          </a:xfrm>
        </p:spPr>
        <p:txBody>
          <a:bodyPr>
            <a:normAutofit/>
          </a:bodyPr>
          <a:lstStyle>
            <a:lvl1pPr>
              <a:defRPr sz="4300">
                <a:solidFill>
                  <a:schemeClr val="tx1"/>
                </a:solidFill>
              </a:defRPr>
            </a:lvl1pPr>
            <a:lvl2pPr marL="1228397" indent="-548055">
              <a:defRPr sz="3800">
                <a:solidFill>
                  <a:schemeClr val="tx1"/>
                </a:solidFill>
              </a:defRPr>
            </a:lvl2pPr>
            <a:lvl3pPr marL="1768890" indent="-540495">
              <a:defRPr sz="3300">
                <a:solidFill>
                  <a:schemeClr val="tx1"/>
                </a:solidFill>
              </a:defRPr>
            </a:lvl3pPr>
            <a:lvl4pPr>
              <a:defRPr sz="4300">
                <a:solidFill>
                  <a:schemeClr val="tx1"/>
                </a:solidFill>
              </a:defRPr>
            </a:lvl4pPr>
            <a:lvl5pPr>
              <a:defRPr sz="4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219200" y="1875748"/>
            <a:ext cx="21945600" cy="941796"/>
          </a:xfrm>
        </p:spPr>
        <p:txBody>
          <a:bodyPr wrap="square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00" baseline="0">
                <a:solidFill>
                  <a:schemeClr val="tx1"/>
                </a:solidFill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1219200" y="342901"/>
            <a:ext cx="21945600" cy="1403462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3" name="Footer Placeholder 22"/>
          <p:cNvSpPr>
            <a:spLocks noGrp="1"/>
          </p:cNvSpPr>
          <p:nvPr>
            <p:ph type="ftr" sz="quarter" idx="11"/>
          </p:nvPr>
        </p:nvSpPr>
        <p:spPr bwMode="gray">
          <a:xfrm>
            <a:off x="1219203" y="13151078"/>
            <a:ext cx="2477104" cy="215444"/>
          </a:xfrm>
          <a:prstGeom prst="rect">
            <a:avLst/>
          </a:prstGeom>
        </p:spPr>
        <p:txBody>
          <a:bodyPr lIns="217709" tIns="108855" rIns="217709" bIns="108855"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© 2014 Teradata</a:t>
            </a:r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794651" y="13183209"/>
            <a:ext cx="6794699" cy="283162"/>
          </a:xfrm>
        </p:spPr>
        <p:txBody>
          <a:bodyPr wrap="square">
            <a:noAutofit/>
          </a:bodyPr>
          <a:lstStyle>
            <a:lvl1pPr marL="0" indent="0" algn="ctr" defTabSz="217709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7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3800">
                <a:solidFill>
                  <a:schemeClr val="accent2"/>
                </a:solidFill>
              </a:defRPr>
            </a:lvl2pPr>
            <a:lvl3pPr>
              <a:buFontTx/>
              <a:buNone/>
              <a:defRPr sz="3800">
                <a:solidFill>
                  <a:schemeClr val="accent2"/>
                </a:solidFill>
              </a:defRPr>
            </a:lvl3pPr>
            <a:lvl4pPr>
              <a:buFontTx/>
              <a:buNone/>
              <a:defRPr sz="3800">
                <a:solidFill>
                  <a:schemeClr val="accent2"/>
                </a:solidFill>
              </a:defRPr>
            </a:lvl4pPr>
            <a:lvl5pPr marL="0" indent="0">
              <a:buFontTx/>
              <a:buNone/>
              <a:defRPr sz="3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#Insert Hasht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237292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theme" Target="../theme/theme1.xml"/><Relationship Id="rId3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18.xml"/><Relationship Id="rId18" Type="http://schemas.openxmlformats.org/officeDocument/2006/relationships/theme" Target="../theme/theme2.xml"/><Relationship Id="rId19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2" Type="http://schemas.openxmlformats.org/officeDocument/2006/relationships/slideLayout" Target="../slideLayouts/slideLayout3.xml"/><Relationship Id="rId3" Type="http://schemas.openxmlformats.org/officeDocument/2006/relationships/slideLayout" Target="../slideLayouts/slideLayout4.xml"/><Relationship Id="rId4" Type="http://schemas.openxmlformats.org/officeDocument/2006/relationships/slideLayout" Target="../slideLayouts/slideLayout5.xml"/><Relationship Id="rId5" Type="http://schemas.openxmlformats.org/officeDocument/2006/relationships/slideLayout" Target="../slideLayouts/slideLayout6.xml"/><Relationship Id="rId6" Type="http://schemas.openxmlformats.org/officeDocument/2006/relationships/slideLayout" Target="../slideLayouts/slideLayout7.xml"/><Relationship Id="rId7" Type="http://schemas.openxmlformats.org/officeDocument/2006/relationships/slideLayout" Target="../slideLayouts/slideLayout8.xml"/><Relationship Id="rId8" Type="http://schemas.openxmlformats.org/officeDocument/2006/relationships/slideLayout" Target="../slideLayouts/slideLayout9.xml"/><Relationship Id="rId9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7785100" y="0"/>
            <a:ext cx="15290800" cy="7200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38100" tIns="38100" rIns="38100" bIns="381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>
                <a:sym typeface="Arial" charset="0"/>
              </a:rPr>
              <a:t>Click to edit Master title style</a:t>
            </a: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7785100" y="7772400"/>
            <a:ext cx="1529080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>
                <a:sym typeface="Arial" charset="0"/>
              </a:rPr>
              <a:t>Click to edit Master text styles</a:t>
            </a:r>
          </a:p>
          <a:p>
            <a:pPr lvl="1"/>
            <a:r>
              <a:rPr lang="en-US">
                <a:sym typeface="Arial" charset="0"/>
              </a:rPr>
              <a:t>Second level</a:t>
            </a:r>
          </a:p>
          <a:p>
            <a:pPr lvl="2"/>
            <a:r>
              <a:rPr lang="en-US">
                <a:sym typeface="Arial" charset="0"/>
              </a:rPr>
              <a:t>Third level</a:t>
            </a:r>
          </a:p>
          <a:p>
            <a:pPr lvl="3"/>
            <a:r>
              <a:rPr lang="en-US">
                <a:sym typeface="Arial" charset="0"/>
              </a:rPr>
              <a:t>Fourth level</a:t>
            </a:r>
          </a:p>
          <a:p>
            <a:pPr lvl="4"/>
            <a:r>
              <a:rPr lang="en-US">
                <a:sym typeface="Arial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</p:sldLayoutIdLst>
  <p:transition xmlns:p14="http://schemas.microsoft.com/office/powerpoint/2010/main"/>
  <p:txStyles>
    <p:titleStyle>
      <a:lvl1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0600" b="1">
          <a:solidFill>
            <a:schemeClr val="tx1"/>
          </a:solidFill>
          <a:latin typeface="+mj-lt"/>
          <a:ea typeface="+mj-ea"/>
          <a:cs typeface="+mj-cs"/>
          <a:sym typeface="Arial" pitchFamily="34" charset="0"/>
        </a:defRPr>
      </a:lvl1pPr>
      <a:lvl2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0600" b="1">
          <a:solidFill>
            <a:schemeClr val="tx1"/>
          </a:solidFill>
          <a:latin typeface="Arial" charset="0"/>
          <a:ea typeface="ヒラギノ角ゴ ProN W6" charset="0"/>
          <a:cs typeface="ヒラギノ角ゴ ProN W6" charset="0"/>
          <a:sym typeface="Arial" pitchFamily="34" charset="0"/>
        </a:defRPr>
      </a:lvl2pPr>
      <a:lvl3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0600" b="1">
          <a:solidFill>
            <a:schemeClr val="tx1"/>
          </a:solidFill>
          <a:latin typeface="Arial" charset="0"/>
          <a:ea typeface="ヒラギノ角ゴ ProN W6" charset="0"/>
          <a:cs typeface="ヒラギノ角ゴ ProN W6" charset="0"/>
          <a:sym typeface="Arial" pitchFamily="34" charset="0"/>
        </a:defRPr>
      </a:lvl3pPr>
      <a:lvl4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0600" b="1">
          <a:solidFill>
            <a:schemeClr val="tx1"/>
          </a:solidFill>
          <a:latin typeface="Arial" charset="0"/>
          <a:ea typeface="ヒラギノ角ゴ ProN W6" charset="0"/>
          <a:cs typeface="ヒラギノ角ゴ ProN W6" charset="0"/>
          <a:sym typeface="Arial" pitchFamily="34" charset="0"/>
        </a:defRPr>
      </a:lvl4pPr>
      <a:lvl5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0600" b="1">
          <a:solidFill>
            <a:schemeClr val="tx1"/>
          </a:solidFill>
          <a:latin typeface="Arial" charset="0"/>
          <a:ea typeface="ヒラギノ角ゴ ProN W6" charset="0"/>
          <a:cs typeface="ヒラギノ角ゴ ProN W6" charset="0"/>
          <a:sym typeface="Arial" pitchFamily="34" charset="0"/>
        </a:defRPr>
      </a:lvl5pPr>
      <a:lvl6pPr marL="457200" algn="ctr" rtl="0" fontAlgn="base">
        <a:lnSpc>
          <a:spcPct val="90000"/>
        </a:lnSpc>
        <a:spcBef>
          <a:spcPct val="0"/>
        </a:spcBef>
        <a:spcAft>
          <a:spcPct val="0"/>
        </a:spcAft>
        <a:defRPr sz="10600" b="1">
          <a:solidFill>
            <a:schemeClr val="tx1"/>
          </a:solidFill>
          <a:latin typeface="Arial" charset="0"/>
          <a:ea typeface="ヒラギノ角ゴ ProN W6" charset="0"/>
          <a:cs typeface="ヒラギノ角ゴ ProN W6" charset="0"/>
          <a:sym typeface="Arial" charset="0"/>
        </a:defRPr>
      </a:lvl6pPr>
      <a:lvl7pPr marL="914400" algn="ctr" rtl="0" fontAlgn="base">
        <a:lnSpc>
          <a:spcPct val="90000"/>
        </a:lnSpc>
        <a:spcBef>
          <a:spcPct val="0"/>
        </a:spcBef>
        <a:spcAft>
          <a:spcPct val="0"/>
        </a:spcAft>
        <a:defRPr sz="10600" b="1">
          <a:solidFill>
            <a:schemeClr val="tx1"/>
          </a:solidFill>
          <a:latin typeface="Arial" charset="0"/>
          <a:ea typeface="ヒラギノ角ゴ ProN W6" charset="0"/>
          <a:cs typeface="ヒラギノ角ゴ ProN W6" charset="0"/>
          <a:sym typeface="Arial" charset="0"/>
        </a:defRPr>
      </a:lvl7pPr>
      <a:lvl8pPr marL="1371600" algn="ctr" rtl="0" fontAlgn="base">
        <a:lnSpc>
          <a:spcPct val="90000"/>
        </a:lnSpc>
        <a:spcBef>
          <a:spcPct val="0"/>
        </a:spcBef>
        <a:spcAft>
          <a:spcPct val="0"/>
        </a:spcAft>
        <a:defRPr sz="10600" b="1">
          <a:solidFill>
            <a:schemeClr val="tx1"/>
          </a:solidFill>
          <a:latin typeface="Arial" charset="0"/>
          <a:ea typeface="ヒラギノ角ゴ ProN W6" charset="0"/>
          <a:cs typeface="ヒラギノ角ゴ ProN W6" charset="0"/>
          <a:sym typeface="Arial" charset="0"/>
        </a:defRPr>
      </a:lvl8pPr>
      <a:lvl9pPr marL="1828800" algn="ctr" rtl="0" fontAlgn="base">
        <a:lnSpc>
          <a:spcPct val="90000"/>
        </a:lnSpc>
        <a:spcBef>
          <a:spcPct val="0"/>
        </a:spcBef>
        <a:spcAft>
          <a:spcPct val="0"/>
        </a:spcAft>
        <a:defRPr sz="10600" b="1">
          <a:solidFill>
            <a:schemeClr val="tx1"/>
          </a:solidFill>
          <a:latin typeface="Arial" charset="0"/>
          <a:ea typeface="ヒラギノ角ゴ ProN W6" charset="0"/>
          <a:cs typeface="ヒラギノ角ゴ ProN W6" charset="0"/>
          <a:sym typeface="Arial" charset="0"/>
        </a:defRPr>
      </a:lvl9pPr>
    </p:titleStyle>
    <p:bodyStyle>
      <a:lvl1pPr marL="342900" indent="-342900" algn="ctr" rtl="0" eaLnBrk="0" fontAlgn="base" hangingPunct="0">
        <a:spcBef>
          <a:spcPct val="0"/>
        </a:spcBef>
        <a:spcAft>
          <a:spcPct val="0"/>
        </a:spcAft>
        <a:defRPr sz="74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1pPr>
      <a:lvl2pPr marL="742950" indent="-285750" algn="ctr" rtl="0" eaLnBrk="0" fontAlgn="base" hangingPunct="0">
        <a:spcBef>
          <a:spcPct val="0"/>
        </a:spcBef>
        <a:spcAft>
          <a:spcPct val="0"/>
        </a:spcAft>
        <a:defRPr sz="74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2pPr>
      <a:lvl3pPr marL="1143000" indent="-228600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3pPr>
      <a:lvl4pPr marL="1600200" indent="-228600" algn="ctr" rtl="0" eaLnBrk="0" fontAlgn="base" hangingPunct="0"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4pPr>
      <a:lvl5pPr marL="2057400" indent="-228600" algn="ctr" rtl="0" eaLnBrk="0" fontAlgn="base" hangingPunct="0"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+mn-lt"/>
          <a:ea typeface="+mn-ea"/>
          <a:cs typeface="+mn-cs"/>
          <a:sym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+mn-lt"/>
          <a:ea typeface="+mn-ea"/>
          <a:cs typeface="+mn-cs"/>
          <a:sym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+mn-lt"/>
          <a:ea typeface="+mn-ea"/>
          <a:cs typeface="+mn-cs"/>
          <a:sym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+mn-lt"/>
          <a:ea typeface="+mn-ea"/>
          <a:cs typeface="+mn-cs"/>
          <a:sym typeface="Arial" charset="0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7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17538" y="241300"/>
            <a:ext cx="23134637" cy="2052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>
                <a:sym typeface="Arial" charset="0"/>
              </a:rPr>
              <a:t>Click to edit Master title style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7538" y="2289175"/>
            <a:ext cx="23134637" cy="11426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38100" tIns="38100" rIns="38100" bIns="381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>
                <a:sym typeface="Arial" charset="0"/>
              </a:rPr>
              <a:t>Click to edit Master text styles</a:t>
            </a:r>
          </a:p>
          <a:p>
            <a:pPr lvl="1"/>
            <a:r>
              <a:rPr lang="en-US">
                <a:sym typeface="Arial" charset="0"/>
              </a:rPr>
              <a:t>Second level</a:t>
            </a:r>
          </a:p>
          <a:p>
            <a:pPr lvl="2"/>
            <a:r>
              <a:rPr lang="en-US">
                <a:sym typeface="Arial" charset="0"/>
              </a:rPr>
              <a:t>Third level</a:t>
            </a:r>
          </a:p>
          <a:p>
            <a:pPr lvl="3"/>
            <a:r>
              <a:rPr lang="en-US">
                <a:sym typeface="Arial" charset="0"/>
              </a:rPr>
              <a:t>Fourth level</a:t>
            </a:r>
          </a:p>
          <a:p>
            <a:pPr lvl="4"/>
            <a:r>
              <a:rPr lang="en-US">
                <a:sym typeface="Arial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8" r:id="rId3"/>
    <p:sldLayoutId id="2147483659" r:id="rId4"/>
    <p:sldLayoutId id="2147483660" r:id="rId5"/>
    <p:sldLayoutId id="2147483661" r:id="rId6"/>
    <p:sldLayoutId id="2147483662" r:id="rId7"/>
    <p:sldLayoutId id="2147483663" r:id="rId8"/>
    <p:sldLayoutId id="214748366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71" r:id="rId16"/>
    <p:sldLayoutId id="2147483672" r:id="rId17"/>
  </p:sldLayoutIdLst>
  <p:transition xmlns:p14="http://schemas.microsoft.com/office/powerpoint/2010/main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9600" b="1">
          <a:solidFill>
            <a:schemeClr val="tx1"/>
          </a:solidFill>
          <a:latin typeface="+mj-lt"/>
          <a:ea typeface="+mj-ea"/>
          <a:cs typeface="+mj-cs"/>
          <a:sym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9600" b="1">
          <a:solidFill>
            <a:schemeClr val="tx1"/>
          </a:solidFill>
          <a:latin typeface="Arial" charset="0"/>
          <a:ea typeface="ヒラギノ角ゴ ProN W6" charset="0"/>
          <a:cs typeface="ヒラギノ角ゴ ProN W6" charset="0"/>
          <a:sym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9600" b="1">
          <a:solidFill>
            <a:schemeClr val="tx1"/>
          </a:solidFill>
          <a:latin typeface="Arial" charset="0"/>
          <a:ea typeface="ヒラギノ角ゴ ProN W6" charset="0"/>
          <a:cs typeface="ヒラギノ角ゴ ProN W6" charset="0"/>
          <a:sym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9600" b="1">
          <a:solidFill>
            <a:schemeClr val="tx1"/>
          </a:solidFill>
          <a:latin typeface="Arial" charset="0"/>
          <a:ea typeface="ヒラギノ角ゴ ProN W6" charset="0"/>
          <a:cs typeface="ヒラギノ角ゴ ProN W6" charset="0"/>
          <a:sym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9600" b="1">
          <a:solidFill>
            <a:schemeClr val="tx1"/>
          </a:solidFill>
          <a:latin typeface="Arial" charset="0"/>
          <a:ea typeface="ヒラギノ角ゴ ProN W6" charset="0"/>
          <a:cs typeface="ヒラギノ角ゴ ProN W6" charset="0"/>
          <a:sym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9600" b="1">
          <a:solidFill>
            <a:schemeClr val="tx1"/>
          </a:solidFill>
          <a:latin typeface="Arial" charset="0"/>
          <a:ea typeface="ヒラギノ角ゴ ProN W6" charset="0"/>
          <a:cs typeface="ヒラギノ角ゴ ProN W6" charset="0"/>
          <a:sym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9600" b="1">
          <a:solidFill>
            <a:schemeClr val="tx1"/>
          </a:solidFill>
          <a:latin typeface="Arial" charset="0"/>
          <a:ea typeface="ヒラギノ角ゴ ProN W6" charset="0"/>
          <a:cs typeface="ヒラギノ角ゴ ProN W6" charset="0"/>
          <a:sym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9600" b="1">
          <a:solidFill>
            <a:schemeClr val="tx1"/>
          </a:solidFill>
          <a:latin typeface="Arial" charset="0"/>
          <a:ea typeface="ヒラギノ角ゴ ProN W6" charset="0"/>
          <a:cs typeface="ヒラギノ角ゴ ProN W6" charset="0"/>
          <a:sym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9600" b="1">
          <a:solidFill>
            <a:schemeClr val="tx1"/>
          </a:solidFill>
          <a:latin typeface="Arial" charset="0"/>
          <a:ea typeface="ヒラギノ角ゴ ProN W6" charset="0"/>
          <a:cs typeface="ヒラギノ角ゴ ProN W6" charset="0"/>
          <a:sym typeface="Arial" charset="0"/>
        </a:defRPr>
      </a:lvl9pPr>
    </p:titleStyle>
    <p:bodyStyle>
      <a:lvl1pPr marL="457200" indent="-457200" algn="l" rtl="0" eaLnBrk="0" fontAlgn="base" hangingPunct="0">
        <a:spcBef>
          <a:spcPts val="2100"/>
        </a:spcBef>
        <a:spcAft>
          <a:spcPct val="0"/>
        </a:spcAft>
        <a:buClr>
          <a:srgbClr val="D3002D"/>
        </a:buClr>
        <a:buSzPct val="100000"/>
        <a:buFont typeface="Wingdings" pitchFamily="2" charset="2"/>
        <a:buChar char="§"/>
        <a:defRPr sz="48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1pPr>
      <a:lvl2pPr marL="876300" indent="-457200" algn="l" rtl="0" eaLnBrk="0" fontAlgn="base" hangingPunct="0">
        <a:spcBef>
          <a:spcPts val="1900"/>
        </a:spcBef>
        <a:spcAft>
          <a:spcPct val="0"/>
        </a:spcAft>
        <a:buClr>
          <a:srgbClr val="D3002D"/>
        </a:buClr>
        <a:buSzPct val="100000"/>
        <a:buFont typeface="Arial" pitchFamily="34" charset="0"/>
        <a:buChar char="-"/>
        <a:defRPr sz="48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2pPr>
      <a:lvl3pPr marL="1333500" indent="-457200" algn="l" rtl="0" eaLnBrk="0" fontAlgn="base" hangingPunct="0">
        <a:spcBef>
          <a:spcPts val="1600"/>
        </a:spcBef>
        <a:spcAft>
          <a:spcPct val="0"/>
        </a:spcAft>
        <a:buClr>
          <a:srgbClr val="D3002D"/>
        </a:buClr>
        <a:buSzPct val="100000"/>
        <a:buFont typeface="Arial" pitchFamily="34" charset="0"/>
        <a:buChar char="-"/>
        <a:defRPr sz="48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3pPr>
      <a:lvl4pPr marL="1790700" indent="-457200" algn="l" rtl="0" eaLnBrk="0" fontAlgn="base" hangingPunct="0">
        <a:spcBef>
          <a:spcPts val="1300"/>
        </a:spcBef>
        <a:spcAft>
          <a:spcPct val="0"/>
        </a:spcAft>
        <a:buClr>
          <a:srgbClr val="D3002D"/>
        </a:buClr>
        <a:buSzPct val="100000"/>
        <a:buFont typeface="Arial" pitchFamily="34" charset="0"/>
        <a:buChar char="-"/>
        <a:defRPr sz="48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4pPr>
      <a:lvl5pPr marL="2247900" indent="-457200" algn="l" rtl="0" eaLnBrk="0" fontAlgn="base" hangingPunct="0">
        <a:spcBef>
          <a:spcPts val="1300"/>
        </a:spcBef>
        <a:spcAft>
          <a:spcPct val="0"/>
        </a:spcAft>
        <a:buClr>
          <a:srgbClr val="D3002D"/>
        </a:buClr>
        <a:buSzPct val="100000"/>
        <a:buFont typeface="Arial" pitchFamily="34" charset="0"/>
        <a:buChar char="-"/>
        <a:defRPr sz="48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5pPr>
      <a:lvl6pPr marL="2705100" indent="-457200" algn="l" rtl="0" fontAlgn="base">
        <a:spcBef>
          <a:spcPts val="1300"/>
        </a:spcBef>
        <a:spcAft>
          <a:spcPct val="0"/>
        </a:spcAft>
        <a:buClr>
          <a:srgbClr val="D3002D"/>
        </a:buClr>
        <a:buSzPct val="100000"/>
        <a:buFont typeface="Arial" charset="0"/>
        <a:buChar char="-"/>
        <a:defRPr sz="4800">
          <a:solidFill>
            <a:schemeClr val="tx1"/>
          </a:solidFill>
          <a:latin typeface="+mn-lt"/>
          <a:ea typeface="+mn-ea"/>
          <a:cs typeface="+mn-cs"/>
          <a:sym typeface="Arial" charset="0"/>
        </a:defRPr>
      </a:lvl6pPr>
      <a:lvl7pPr marL="3162300" indent="-457200" algn="l" rtl="0" fontAlgn="base">
        <a:spcBef>
          <a:spcPts val="1300"/>
        </a:spcBef>
        <a:spcAft>
          <a:spcPct val="0"/>
        </a:spcAft>
        <a:buClr>
          <a:srgbClr val="D3002D"/>
        </a:buClr>
        <a:buSzPct val="100000"/>
        <a:buFont typeface="Arial" charset="0"/>
        <a:buChar char="-"/>
        <a:defRPr sz="4800">
          <a:solidFill>
            <a:schemeClr val="tx1"/>
          </a:solidFill>
          <a:latin typeface="+mn-lt"/>
          <a:ea typeface="+mn-ea"/>
          <a:cs typeface="+mn-cs"/>
          <a:sym typeface="Arial" charset="0"/>
        </a:defRPr>
      </a:lvl7pPr>
      <a:lvl8pPr marL="3619500" indent="-457200" algn="l" rtl="0" fontAlgn="base">
        <a:spcBef>
          <a:spcPts val="1300"/>
        </a:spcBef>
        <a:spcAft>
          <a:spcPct val="0"/>
        </a:spcAft>
        <a:buClr>
          <a:srgbClr val="D3002D"/>
        </a:buClr>
        <a:buSzPct val="100000"/>
        <a:buFont typeface="Arial" charset="0"/>
        <a:buChar char="-"/>
        <a:defRPr sz="4800">
          <a:solidFill>
            <a:schemeClr val="tx1"/>
          </a:solidFill>
          <a:latin typeface="+mn-lt"/>
          <a:ea typeface="+mn-ea"/>
          <a:cs typeface="+mn-cs"/>
          <a:sym typeface="Arial" charset="0"/>
        </a:defRPr>
      </a:lvl8pPr>
      <a:lvl9pPr marL="4076700" indent="-457200" algn="l" rtl="0" fontAlgn="base">
        <a:spcBef>
          <a:spcPts val="1300"/>
        </a:spcBef>
        <a:spcAft>
          <a:spcPct val="0"/>
        </a:spcAft>
        <a:buClr>
          <a:srgbClr val="D3002D"/>
        </a:buClr>
        <a:buSzPct val="100000"/>
        <a:buFont typeface="Arial" charset="0"/>
        <a:buChar char="-"/>
        <a:defRPr sz="4800">
          <a:solidFill>
            <a:schemeClr val="tx1"/>
          </a:solidFill>
          <a:latin typeface="+mn-lt"/>
          <a:ea typeface="+mn-ea"/>
          <a:cs typeface="+mn-cs"/>
          <a:sym typeface="Arial" charset="0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12.png"/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11.xml"/><Relationship Id="rId2" Type="http://schemas.openxmlformats.org/officeDocument/2006/relationships/diagramData" Target="../diagrams/data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chart" Target="../charts/char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4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15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slideLayout" Target="../slideLayouts/slideLayout18.xml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0163" y="2026494"/>
            <a:ext cx="17702463" cy="7803306"/>
          </a:xfrm>
        </p:spPr>
      </p:pic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7785100" y="10242376"/>
            <a:ext cx="15290800" cy="297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ctr" rtl="0" eaLnBrk="0" fontAlgn="base" hangingPunct="0">
              <a:spcBef>
                <a:spcPct val="0"/>
              </a:spcBef>
              <a:spcAft>
                <a:spcPct val="0"/>
              </a:spcAft>
              <a:defRPr sz="7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  <a:lvl2pPr marL="742950" indent="-285750" algn="ctr" rtl="0" eaLnBrk="0" fontAlgn="base" hangingPunct="0">
              <a:spcBef>
                <a:spcPct val="0"/>
              </a:spcBef>
              <a:spcAft>
                <a:spcPct val="0"/>
              </a:spcAft>
              <a:defRPr sz="7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2pPr>
            <a:lvl3pPr marL="11430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6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3pPr>
            <a:lvl4pPr marL="16002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5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4pPr>
            <a:lvl5pPr marL="20574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52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5200">
                <a:solidFill>
                  <a:schemeClr val="tx1"/>
                </a:solidFill>
                <a:latin typeface="+mn-lt"/>
                <a:ea typeface="+mn-ea"/>
                <a:cs typeface="+mn-cs"/>
                <a:sym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5200">
                <a:solidFill>
                  <a:schemeClr val="tx1"/>
                </a:solidFill>
                <a:latin typeface="+mn-lt"/>
                <a:ea typeface="+mn-ea"/>
                <a:cs typeface="+mn-cs"/>
                <a:sym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5200">
                <a:solidFill>
                  <a:schemeClr val="tx1"/>
                </a:solidFill>
                <a:latin typeface="+mn-lt"/>
                <a:ea typeface="+mn-ea"/>
                <a:cs typeface="+mn-cs"/>
                <a:sym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5200">
                <a:solidFill>
                  <a:schemeClr val="tx1"/>
                </a:solidFill>
                <a:latin typeface="+mn-lt"/>
                <a:ea typeface="+mn-ea"/>
                <a:cs typeface="+mn-cs"/>
                <a:sym typeface="Arial" charset="0"/>
              </a:defRPr>
            </a:lvl9pPr>
          </a:lstStyle>
          <a:p>
            <a:r>
              <a:rPr lang="de-DE" sz="6000" kern="0" dirty="0" smtClean="0"/>
              <a:t>Dr. Frank Säuberlich</a:t>
            </a:r>
          </a:p>
          <a:p>
            <a:r>
              <a:rPr lang="de-DE" sz="5400" kern="0" dirty="0" err="1" smtClean="0"/>
              <a:t>Director</a:t>
            </a:r>
            <a:r>
              <a:rPr lang="de-DE" sz="5400" kern="0" dirty="0" smtClean="0"/>
              <a:t> </a:t>
            </a:r>
            <a:r>
              <a:rPr lang="de-DE" sz="5400" kern="0" dirty="0" err="1" smtClean="0"/>
              <a:t>Advanced</a:t>
            </a:r>
            <a:r>
              <a:rPr lang="de-DE" sz="5400" kern="0" dirty="0" smtClean="0"/>
              <a:t> </a:t>
            </a:r>
            <a:r>
              <a:rPr lang="de-DE" sz="5400" kern="0" dirty="0" err="1" smtClean="0"/>
              <a:t>Analytics</a:t>
            </a:r>
            <a:endParaRPr lang="de-DE" sz="5400" kern="0" dirty="0" smtClean="0"/>
          </a:p>
          <a:p>
            <a:r>
              <a:rPr lang="de-DE" sz="5400" kern="0" dirty="0" err="1" smtClean="0"/>
              <a:t>Teradata</a:t>
            </a:r>
            <a:r>
              <a:rPr lang="de-DE" sz="5400" kern="0" dirty="0" smtClean="0"/>
              <a:t> International</a:t>
            </a:r>
            <a:endParaRPr lang="en-US" sz="5400" kern="0" dirty="0"/>
          </a:p>
        </p:txBody>
      </p:sp>
      <p:sp>
        <p:nvSpPr>
          <p:cNvPr id="2" name="Rectangle 1"/>
          <p:cNvSpPr/>
          <p:nvPr/>
        </p:nvSpPr>
        <p:spPr>
          <a:xfrm>
            <a:off x="8425056" y="5439251"/>
            <a:ext cx="14010888" cy="172354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e-DE" sz="10600" b="1" dirty="0" smtClean="0">
                <a:ln w="18000">
                  <a:solidFill>
                    <a:schemeClr val="tx1"/>
                  </a:solidFill>
                  <a:prstDash val="solid"/>
                  <a:miter lim="800000"/>
                </a:ln>
                <a:solidFill>
                  <a:schemeClr val="bg1"/>
                </a:solidFill>
                <a:effectLst>
                  <a:innerShdw blurRad="63500" dist="50800">
                    <a:prstClr val="black">
                      <a:alpha val="50000"/>
                    </a:prstClr>
                  </a:innerShdw>
                </a:effectLst>
                <a:latin typeface="+mj-lt"/>
              </a:rPr>
              <a:t>The</a:t>
            </a:r>
            <a:r>
              <a:rPr lang="de-DE" sz="10600" b="1" cap="none" spc="0" dirty="0" smtClean="0">
                <a:ln w="18000">
                  <a:solidFill>
                    <a:schemeClr val="tx1"/>
                  </a:solidFill>
                  <a:prstDash val="solid"/>
                  <a:miter lim="800000"/>
                </a:ln>
                <a:solidFill>
                  <a:schemeClr val="bg1"/>
                </a:solidFill>
                <a:effectLst>
                  <a:innerShdw blurRad="63500" dist="50800">
                    <a:prstClr val="black">
                      <a:alpha val="50000"/>
                    </a:prstClr>
                  </a:innerShdw>
                </a:effectLst>
                <a:latin typeface="+mj-lt"/>
              </a:rPr>
              <a:t> </a:t>
            </a:r>
            <a:r>
              <a:rPr lang="de-DE" sz="10600" b="1" dirty="0" smtClean="0">
                <a:ln w="18000">
                  <a:solidFill>
                    <a:schemeClr val="tx1"/>
                  </a:solidFill>
                  <a:prstDash val="solid"/>
                  <a:miter lim="800000"/>
                </a:ln>
                <a:solidFill>
                  <a:schemeClr val="bg1"/>
                </a:solidFill>
                <a:effectLst>
                  <a:innerShdw blurRad="63500" dist="50800">
                    <a:prstClr val="black">
                      <a:alpha val="50000"/>
                    </a:prstClr>
                  </a:innerShdw>
                </a:effectLst>
                <a:latin typeface="+mj-lt"/>
              </a:rPr>
              <a:t>Internet</a:t>
            </a:r>
            <a:r>
              <a:rPr lang="de-DE" sz="10600" b="1" cap="none" spc="0" dirty="0" smtClean="0">
                <a:ln w="18000">
                  <a:solidFill>
                    <a:schemeClr val="tx1"/>
                  </a:solidFill>
                  <a:prstDash val="solid"/>
                  <a:miter lim="800000"/>
                </a:ln>
                <a:solidFill>
                  <a:schemeClr val="bg1"/>
                </a:solidFill>
                <a:effectLst>
                  <a:innerShdw blurRad="63500" dist="50800">
                    <a:prstClr val="black">
                      <a:alpha val="50000"/>
                    </a:prstClr>
                  </a:innerShdw>
                </a:effectLst>
                <a:latin typeface="+mj-lt"/>
              </a:rPr>
              <a:t> </a:t>
            </a:r>
            <a:r>
              <a:rPr lang="de-DE" sz="10600" b="1" dirty="0" smtClean="0">
                <a:ln w="18000">
                  <a:solidFill>
                    <a:schemeClr val="tx1"/>
                  </a:solidFill>
                  <a:prstDash val="solid"/>
                  <a:miter lim="800000"/>
                </a:ln>
                <a:solidFill>
                  <a:schemeClr val="bg1"/>
                </a:solidFill>
                <a:effectLst>
                  <a:innerShdw blurRad="63500" dist="50800">
                    <a:prstClr val="black">
                      <a:alpha val="50000"/>
                    </a:prstClr>
                  </a:innerShdw>
                </a:effectLst>
                <a:latin typeface="+mj-lt"/>
              </a:rPr>
              <a:t>of</a:t>
            </a:r>
            <a:r>
              <a:rPr lang="de-DE" sz="10600" b="1" cap="none" spc="0" dirty="0" smtClean="0">
                <a:ln w="18000">
                  <a:solidFill>
                    <a:schemeClr val="tx1"/>
                  </a:solidFill>
                  <a:prstDash val="solid"/>
                  <a:miter lim="800000"/>
                </a:ln>
                <a:solidFill>
                  <a:schemeClr val="bg1"/>
                </a:solidFill>
                <a:effectLst>
                  <a:innerShdw blurRad="63500" dist="50800">
                    <a:prstClr val="black">
                      <a:alpha val="50000"/>
                    </a:prstClr>
                  </a:innerShdw>
                </a:effectLst>
                <a:latin typeface="+mj-lt"/>
              </a:rPr>
              <a:t> </a:t>
            </a:r>
            <a:r>
              <a:rPr lang="de-DE" sz="10600" b="1" dirty="0" smtClean="0">
                <a:ln w="18000">
                  <a:solidFill>
                    <a:schemeClr val="tx1"/>
                  </a:solidFill>
                  <a:prstDash val="solid"/>
                  <a:miter lim="800000"/>
                </a:ln>
                <a:solidFill>
                  <a:schemeClr val="bg1"/>
                </a:solidFill>
                <a:effectLst>
                  <a:innerShdw blurRad="63500" dist="50800">
                    <a:prstClr val="black">
                      <a:alpha val="50000"/>
                    </a:prstClr>
                  </a:innerShdw>
                </a:effectLst>
                <a:latin typeface="+mj-lt"/>
              </a:rPr>
              <a:t>Trains</a:t>
            </a:r>
            <a:endParaRPr lang="en-US" sz="10600" b="1" cap="none" spc="0" dirty="0">
              <a:ln w="18000">
                <a:solidFill>
                  <a:schemeClr val="tx1"/>
                </a:solidFill>
                <a:prstDash val="solid"/>
                <a:miter lim="800000"/>
              </a:ln>
              <a:solidFill>
                <a:schemeClr val="bg1"/>
              </a:solidFill>
              <a:effectLst>
                <a:innerShdw blurRad="63500" dist="50800">
                  <a:prstClr val="black">
                    <a:alpha val="50000"/>
                  </a:prstClr>
                </a:innerShdw>
              </a:effectLs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7781241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de-DE" dirty="0"/>
              <a:t>Using Aster Affinity Function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ploratory </a:t>
            </a:r>
            <a:r>
              <a:rPr lang="de-DE" dirty="0" smtClean="0"/>
              <a:t>Analytic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1"/>
          <p:cNvSpPr txBox="1">
            <a:spLocks/>
          </p:cNvSpPr>
          <p:nvPr/>
        </p:nvSpPr>
        <p:spPr bwMode="gray">
          <a:xfrm>
            <a:off x="1219200" y="8229600"/>
            <a:ext cx="22148800" cy="36576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628650" indent="-171450" algn="l" defTabSz="914400" rtl="0" eaLnBrk="1" latinLnBrk="0" hangingPunct="1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00"/>
              </a:spcAft>
              <a:buFontTx/>
              <a:buNone/>
              <a:defRPr sz="16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00"/>
              </a:spcAft>
              <a:buFontTx/>
              <a:buNone/>
              <a:defRPr sz="16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00" indent="-22860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900" b="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eaLnBrk="0" hangingPunct="0">
              <a:lnSpc>
                <a:spcPct val="100000"/>
              </a:lnSpc>
              <a:spcBef>
                <a:spcPts val="2100"/>
              </a:spcBef>
              <a:spcAft>
                <a:spcPct val="0"/>
              </a:spcAft>
              <a:buClr>
                <a:srgbClr val="D3002D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4300" dirty="0">
                <a:sym typeface="Arial" pitchFamily="34" charset="0"/>
              </a:rPr>
              <a:t>Nodes represent single repair codes;</a:t>
            </a:r>
          </a:p>
          <a:p>
            <a:pPr marL="457200" indent="-457200" eaLnBrk="0" hangingPunct="0">
              <a:lnSpc>
                <a:spcPct val="100000"/>
              </a:lnSpc>
              <a:spcBef>
                <a:spcPts val="2100"/>
              </a:spcBef>
              <a:spcAft>
                <a:spcPct val="0"/>
              </a:spcAft>
              <a:buClr>
                <a:srgbClr val="D3002D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4300" dirty="0">
                <a:sym typeface="Arial" pitchFamily="34" charset="0"/>
              </a:rPr>
              <a:t>A line between nodes means that the two connected repair codes have appeared in the same train at least once (thicker lines mean more occurrences);</a:t>
            </a:r>
          </a:p>
          <a:p>
            <a:pPr marL="457200" indent="-457200" eaLnBrk="0" hangingPunct="0">
              <a:lnSpc>
                <a:spcPct val="100000"/>
              </a:lnSpc>
              <a:spcBef>
                <a:spcPts val="2100"/>
              </a:spcBef>
              <a:spcAft>
                <a:spcPct val="0"/>
              </a:spcAft>
              <a:buClr>
                <a:srgbClr val="D3002D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4300" dirty="0">
                <a:sym typeface="Arial" pitchFamily="34" charset="0"/>
              </a:rPr>
              <a:t>This analysis supports the identification of components that fail in combination - and variables that are likely to be useful in predicting the target variable.</a:t>
            </a:r>
          </a:p>
          <a:p>
            <a:pPr marL="571500" indent="-571500">
              <a:lnSpc>
                <a:spcPct val="100000"/>
              </a:lnSpc>
              <a:buFont typeface="Wingdings" panose="05000000000000000000" pitchFamily="2" charset="2"/>
              <a:buChar char="§"/>
            </a:pPr>
            <a:endParaRPr lang="en-US" sz="3800" dirty="0"/>
          </a:p>
        </p:txBody>
      </p:sp>
      <p:pic>
        <p:nvPicPr>
          <p:cNvPr id="8" name="Picture Placeholder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5258" b="-45258"/>
          <a:stretch>
            <a:fillRect/>
          </a:stretch>
        </p:blipFill>
        <p:spPr bwMode="auto">
          <a:xfrm>
            <a:off x="8280400" y="2176212"/>
            <a:ext cx="7061200" cy="594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Placeholder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6717" b="-26717"/>
          <a:stretch>
            <a:fillRect/>
          </a:stretch>
        </p:blipFill>
        <p:spPr bwMode="auto">
          <a:xfrm>
            <a:off x="16118421" y="2176212"/>
            <a:ext cx="7061200" cy="594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Placeholder 2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4795" b="-34795"/>
          <a:stretch>
            <a:fillRect/>
          </a:stretch>
        </p:blipFill>
        <p:spPr bwMode="auto">
          <a:xfrm>
            <a:off x="1219200" y="2286000"/>
            <a:ext cx="7061200" cy="594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24"/>
          <p:cNvSpPr txBox="1">
            <a:spLocks noChangeArrowheads="1"/>
          </p:cNvSpPr>
          <p:nvPr/>
        </p:nvSpPr>
        <p:spPr bwMode="auto">
          <a:xfrm>
            <a:off x="1422401" y="7315200"/>
            <a:ext cx="5160435" cy="80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17709" tIns="108855" rIns="217709" bIns="108855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de-DE" altLang="en-US" sz="3800" dirty="0">
                <a:solidFill>
                  <a:srgbClr val="003366"/>
                </a:solidFill>
                <a:latin typeface="Calibri" pitchFamily="34" charset="0"/>
                <a:cs typeface="Calibri" pitchFamily="34" charset="0"/>
              </a:rPr>
              <a:t>All engine problems</a:t>
            </a:r>
            <a:endParaRPr lang="en-GB" altLang="en-US" sz="3800" dirty="0">
              <a:solidFill>
                <a:srgbClr val="00336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" name="TextBox 27"/>
          <p:cNvSpPr txBox="1">
            <a:spLocks noChangeArrowheads="1"/>
          </p:cNvSpPr>
          <p:nvPr/>
        </p:nvSpPr>
        <p:spPr bwMode="auto">
          <a:xfrm>
            <a:off x="9630835" y="7315200"/>
            <a:ext cx="5160432" cy="80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17709" tIns="108855" rIns="217709" bIns="108855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de-DE" altLang="en-US" sz="3800" dirty="0">
                <a:solidFill>
                  <a:srgbClr val="003366"/>
                </a:solidFill>
                <a:latin typeface="Calibri" pitchFamily="34" charset="0"/>
                <a:cs typeface="Calibri" pitchFamily="34" charset="0"/>
              </a:rPr>
              <a:t>Relevant = </a:t>
            </a:r>
            <a:r>
              <a:rPr lang="de-DE" altLang="en-US" sz="3800" dirty="0" smtClean="0">
                <a:solidFill>
                  <a:srgbClr val="003366"/>
                </a:solidFill>
                <a:latin typeface="Calibri" pitchFamily="34" charset="0"/>
                <a:cs typeface="Calibri" pitchFamily="34" charset="0"/>
              </a:rPr>
              <a:t>1</a:t>
            </a:r>
            <a:endParaRPr lang="en-GB" altLang="en-US" sz="3800" dirty="0">
              <a:solidFill>
                <a:srgbClr val="00336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TextBox 28"/>
          <p:cNvSpPr txBox="1">
            <a:spLocks noChangeArrowheads="1"/>
          </p:cNvSpPr>
          <p:nvPr/>
        </p:nvSpPr>
        <p:spPr bwMode="auto">
          <a:xfrm>
            <a:off x="17068804" y="7315200"/>
            <a:ext cx="5160435" cy="80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17709" tIns="108855" rIns="217709" bIns="108855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de-DE" altLang="en-US" sz="3800" dirty="0">
                <a:solidFill>
                  <a:srgbClr val="003366"/>
                </a:solidFill>
                <a:latin typeface="Calibri" pitchFamily="34" charset="0"/>
                <a:cs typeface="Calibri" pitchFamily="34" charset="0"/>
              </a:rPr>
              <a:t>Relevant = </a:t>
            </a:r>
            <a:r>
              <a:rPr lang="de-DE" altLang="en-US" sz="3800" dirty="0" smtClean="0">
                <a:solidFill>
                  <a:srgbClr val="003366"/>
                </a:solidFill>
                <a:latin typeface="Calibri" pitchFamily="34" charset="0"/>
                <a:cs typeface="Calibri" pitchFamily="34" charset="0"/>
              </a:rPr>
              <a:t>2</a:t>
            </a:r>
            <a:endParaRPr lang="en-GB" altLang="en-US" sz="3800" dirty="0">
              <a:solidFill>
                <a:srgbClr val="003366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2335996"/>
      </p:ext>
    </p:extLst>
  </p:cSld>
  <p:clrMapOvr>
    <a:masterClrMapping/>
  </p:clrMapOvr>
  <p:transition xmlns:p14="http://schemas.microsoft.com/office/powerpoint/2010/main"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de-DE" dirty="0"/>
              <a:t>Using Aster nPath function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ploratory </a:t>
            </a:r>
            <a:r>
              <a:rPr lang="de-DE" dirty="0" smtClean="0"/>
              <a:t>Analytic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1"/>
          <p:cNvSpPr txBox="1">
            <a:spLocks/>
          </p:cNvSpPr>
          <p:nvPr/>
        </p:nvSpPr>
        <p:spPr bwMode="gray">
          <a:xfrm>
            <a:off x="1219200" y="3072804"/>
            <a:ext cx="22148800" cy="86868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628650" indent="-171450" algn="l" defTabSz="914400" rtl="0" eaLnBrk="1" latinLnBrk="0" hangingPunct="1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00"/>
              </a:spcAft>
              <a:buFontTx/>
              <a:buNone/>
              <a:defRPr sz="16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00"/>
              </a:spcAft>
              <a:buFontTx/>
              <a:buNone/>
              <a:defRPr sz="16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00" indent="-22860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900" b="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eaLnBrk="0" hangingPunct="0">
              <a:spcBef>
                <a:spcPts val="2100"/>
              </a:spcBef>
              <a:spcAft>
                <a:spcPct val="0"/>
              </a:spcAft>
              <a:buClr>
                <a:srgbClr val="D3002D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4300" dirty="0" err="1">
                <a:sym typeface="Arial" pitchFamily="34" charset="0"/>
              </a:rPr>
              <a:t>Pathing</a:t>
            </a:r>
            <a:r>
              <a:rPr lang="en-US" sz="4300" dirty="0">
                <a:sym typeface="Arial" pitchFamily="34" charset="0"/>
              </a:rPr>
              <a:t> the predictive variables identified in the affinity analysis leads to further insight;</a:t>
            </a:r>
          </a:p>
          <a:p>
            <a:pPr marL="457200" indent="-457200" eaLnBrk="0" hangingPunct="0">
              <a:spcBef>
                <a:spcPts val="2100"/>
              </a:spcBef>
              <a:spcAft>
                <a:spcPct val="0"/>
              </a:spcAft>
              <a:buClr>
                <a:srgbClr val="D3002D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4300" dirty="0">
                <a:sym typeface="Arial" pitchFamily="34" charset="0"/>
              </a:rPr>
              <a:t>For example, a daily pattern of Engine Temperature readings of mid – low – mid often appears 3 days ahead of engine failure</a:t>
            </a:r>
            <a:r>
              <a:rPr lang="en-US" sz="4300" dirty="0" smtClean="0">
                <a:sym typeface="Arial" pitchFamily="34" charset="0"/>
              </a:rPr>
              <a:t>.</a:t>
            </a:r>
          </a:p>
          <a:p>
            <a:pPr marL="457200" indent="-457200" eaLnBrk="0" hangingPunct="0">
              <a:spcBef>
                <a:spcPts val="2100"/>
              </a:spcBef>
              <a:spcAft>
                <a:spcPct val="0"/>
              </a:spcAft>
              <a:buClr>
                <a:srgbClr val="D3002D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4300" dirty="0" smtClean="0">
                <a:sym typeface="Arial" pitchFamily="34" charset="0"/>
              </a:rPr>
              <a:t>We used this approach to identify the most relevant groupings of „low – mid – high“ for individual sensors</a:t>
            </a:r>
            <a:endParaRPr lang="en-US" sz="4300" dirty="0">
              <a:sym typeface="Arial" pitchFamily="34" charset="0"/>
            </a:endParaRPr>
          </a:p>
        </p:txBody>
      </p:sp>
      <p:pic>
        <p:nvPicPr>
          <p:cNvPr id="8" name="Picture 2" descr="image0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5294" b="-35294"/>
          <a:stretch>
            <a:fillRect/>
          </a:stretch>
        </p:blipFill>
        <p:spPr bwMode="auto">
          <a:xfrm>
            <a:off x="1219200" y="5664201"/>
            <a:ext cx="21945600" cy="6620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46350318"/>
      </p:ext>
    </p:extLst>
  </p:cSld>
  <p:clrMapOvr>
    <a:masterClrMapping/>
  </p:clrMapOvr>
  <p:transition xmlns:p14="http://schemas.microsoft.com/office/powerpoint/2010/main"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altLang="en-US" dirty="0">
                <a:latin typeface="Arial" pitchFamily="34" charset="0"/>
                <a:ea typeface="ヒラギノ角ゴ Pro W3" pitchFamily="-108" charset="-128"/>
                <a:cs typeface="Arial" pitchFamily="34" charset="0"/>
              </a:rPr>
              <a:t>Using Decision Tree Algorithm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en-US" dirty="0">
                <a:latin typeface="Arial" pitchFamily="34" charset="0"/>
                <a:ea typeface="ヒラギノ角ゴ Pro W3" pitchFamily="-108" charset="-128"/>
                <a:cs typeface="Arial" pitchFamily="34" charset="0"/>
              </a:rPr>
              <a:t>Analytics – Predictive </a:t>
            </a:r>
            <a:r>
              <a:rPr lang="de-DE" altLang="en-US" dirty="0" smtClean="0">
                <a:latin typeface="Arial" pitchFamily="34" charset="0"/>
                <a:ea typeface="ヒラギノ角ゴ Pro W3" pitchFamily="-108" charset="-128"/>
                <a:cs typeface="Arial" pitchFamily="34" charset="0"/>
              </a:rPr>
              <a:t>Modeling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1"/>
          <p:cNvSpPr txBox="1">
            <a:spLocks/>
          </p:cNvSpPr>
          <p:nvPr/>
        </p:nvSpPr>
        <p:spPr bwMode="gray">
          <a:xfrm>
            <a:off x="1141900" y="3025542"/>
            <a:ext cx="22931965" cy="86868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628650" indent="-171450" algn="l" defTabSz="914400" rtl="0" eaLnBrk="1" latinLnBrk="0" hangingPunct="1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00"/>
              </a:spcAft>
              <a:buFontTx/>
              <a:buNone/>
              <a:defRPr sz="16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00"/>
              </a:spcAft>
              <a:buFontTx/>
              <a:buNone/>
              <a:defRPr sz="16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00" indent="-22860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900" b="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eaLnBrk="0" hangingPunct="0">
              <a:spcBef>
                <a:spcPts val="2100"/>
              </a:spcBef>
              <a:spcAft>
                <a:spcPct val="0"/>
              </a:spcAft>
              <a:buClr>
                <a:srgbClr val="D3002D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4300" dirty="0"/>
              <a:t>We have used a decision tree algorithm to predict Engine Failures on the hourly aggregated data set</a:t>
            </a:r>
            <a:endParaRPr lang="en-GB" sz="4300" dirty="0"/>
          </a:p>
          <a:p>
            <a:pPr marL="457200" indent="-457200" eaLnBrk="0" hangingPunct="0">
              <a:spcBef>
                <a:spcPts val="2100"/>
              </a:spcBef>
              <a:spcAft>
                <a:spcPct val="0"/>
              </a:spcAft>
              <a:buClr>
                <a:srgbClr val="D3002D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4300" dirty="0"/>
              <a:t>The algorithm used was a random forest algorithm as available in Aster</a:t>
            </a:r>
            <a:endParaRPr lang="en-US" sz="4300" dirty="0"/>
          </a:p>
        </p:txBody>
      </p:sp>
      <p:grpSp>
        <p:nvGrpSpPr>
          <p:cNvPr id="8" name="Group 17"/>
          <p:cNvGrpSpPr>
            <a:grpSpLocks/>
          </p:cNvGrpSpPr>
          <p:nvPr/>
        </p:nvGrpSpPr>
        <p:grpSpPr bwMode="auto">
          <a:xfrm>
            <a:off x="2183219" y="2965283"/>
            <a:ext cx="20414512" cy="10837334"/>
            <a:chOff x="3200400" y="514350"/>
            <a:chExt cx="6324600" cy="4064000"/>
          </a:xfrm>
        </p:grpSpPr>
        <p:graphicFrame>
          <p:nvGraphicFramePr>
            <p:cNvPr id="9" name="Diagram 8"/>
            <p:cNvGraphicFramePr/>
            <p:nvPr/>
          </p:nvGraphicFramePr>
          <p:xfrm>
            <a:off x="3429000" y="514350"/>
            <a:ext cx="6096000" cy="406400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grpSp>
          <p:nvGrpSpPr>
            <p:cNvPr id="10" name="Group 16"/>
            <p:cNvGrpSpPr>
              <a:grpSpLocks/>
            </p:cNvGrpSpPr>
            <p:nvPr/>
          </p:nvGrpSpPr>
          <p:grpSpPr bwMode="auto">
            <a:xfrm>
              <a:off x="3200400" y="1488344"/>
              <a:ext cx="5933704" cy="2114550"/>
              <a:chOff x="3200400" y="1472519"/>
              <a:chExt cx="5933704" cy="2114550"/>
            </a:xfrm>
          </p:grpSpPr>
          <p:sp>
            <p:nvSpPr>
              <p:cNvPr id="11" name="TextBox 6"/>
              <p:cNvSpPr txBox="1">
                <a:spLocks noChangeArrowheads="1"/>
              </p:cNvSpPr>
              <p:nvPr/>
            </p:nvSpPr>
            <p:spPr bwMode="auto">
              <a:xfrm>
                <a:off x="5640202" y="1472519"/>
                <a:ext cx="1006200" cy="4501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algn="ctr" eaLnBrk="1" hangingPunct="1"/>
                <a:r>
                  <a:rPr lang="de-DE" altLang="en-US" dirty="0"/>
                  <a:t>Node 0</a:t>
                </a:r>
              </a:p>
              <a:p>
                <a:pPr algn="ctr" eaLnBrk="1" hangingPunct="1"/>
                <a:r>
                  <a:rPr lang="de-DE" altLang="en-US" dirty="0"/>
                  <a:t>Failure Pct</a:t>
                </a:r>
              </a:p>
              <a:p>
                <a:pPr algn="ctr" eaLnBrk="1" hangingPunct="1"/>
                <a:r>
                  <a:rPr lang="de-DE" altLang="en-US" dirty="0"/>
                  <a:t>3.55%</a:t>
                </a:r>
                <a:endParaRPr lang="en-US" altLang="en-US" dirty="0"/>
              </a:p>
            </p:txBody>
          </p:sp>
          <p:sp>
            <p:nvSpPr>
              <p:cNvPr id="12" name="TextBox 7"/>
              <p:cNvSpPr txBox="1">
                <a:spLocks noChangeArrowheads="1"/>
              </p:cNvSpPr>
              <p:nvPr/>
            </p:nvSpPr>
            <p:spPr bwMode="auto">
              <a:xfrm>
                <a:off x="3990235" y="2321150"/>
                <a:ext cx="1219200" cy="4501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algn="ctr" eaLnBrk="1" hangingPunct="1"/>
                <a:r>
                  <a:rPr lang="de-DE" altLang="en-US" dirty="0"/>
                  <a:t>Node 1</a:t>
                </a:r>
              </a:p>
              <a:p>
                <a:pPr algn="ctr" eaLnBrk="1" hangingPunct="1"/>
                <a:r>
                  <a:rPr lang="de-DE" altLang="en-US" dirty="0"/>
                  <a:t>Failure Pct</a:t>
                </a:r>
              </a:p>
              <a:p>
                <a:pPr algn="ctr" eaLnBrk="1" hangingPunct="1"/>
                <a:r>
                  <a:rPr lang="de-DE" altLang="en-US" dirty="0"/>
                  <a:t>3.41%</a:t>
                </a:r>
                <a:endParaRPr lang="en-US" altLang="en-US" dirty="0"/>
              </a:p>
            </p:txBody>
          </p:sp>
          <p:sp>
            <p:nvSpPr>
              <p:cNvPr id="13" name="TextBox 8"/>
              <p:cNvSpPr txBox="1">
                <a:spLocks noChangeArrowheads="1"/>
              </p:cNvSpPr>
              <p:nvPr/>
            </p:nvSpPr>
            <p:spPr bwMode="auto">
              <a:xfrm>
                <a:off x="7104909" y="2322698"/>
                <a:ext cx="1219200" cy="4501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algn="ctr" eaLnBrk="1" hangingPunct="1"/>
                <a:r>
                  <a:rPr lang="de-DE" altLang="en-US" dirty="0"/>
                  <a:t>Node 286</a:t>
                </a:r>
              </a:p>
              <a:p>
                <a:pPr algn="ctr" eaLnBrk="1" hangingPunct="1"/>
                <a:r>
                  <a:rPr lang="de-DE" altLang="en-US" dirty="0"/>
                  <a:t>Failure Pct</a:t>
                </a:r>
              </a:p>
              <a:p>
                <a:pPr algn="ctr" eaLnBrk="1" hangingPunct="1"/>
                <a:r>
                  <a:rPr lang="de-DE" altLang="en-US" dirty="0"/>
                  <a:t>46.32%</a:t>
                </a:r>
                <a:endParaRPr lang="en-US" altLang="en-US" dirty="0"/>
              </a:p>
            </p:txBody>
          </p:sp>
          <p:sp>
            <p:nvSpPr>
              <p:cNvPr id="14" name="TextBox 9"/>
              <p:cNvSpPr txBox="1">
                <a:spLocks noChangeArrowheads="1"/>
              </p:cNvSpPr>
              <p:nvPr/>
            </p:nvSpPr>
            <p:spPr bwMode="auto">
              <a:xfrm>
                <a:off x="3200400" y="3136946"/>
                <a:ext cx="1219200" cy="4501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algn="ctr" eaLnBrk="1" hangingPunct="1"/>
                <a:r>
                  <a:rPr lang="de-DE" altLang="en-US" dirty="0"/>
                  <a:t>Node 2</a:t>
                </a:r>
              </a:p>
              <a:p>
                <a:pPr algn="ctr" eaLnBrk="1" hangingPunct="1"/>
                <a:r>
                  <a:rPr lang="de-DE" altLang="en-US" dirty="0"/>
                  <a:t>Failure Pct</a:t>
                </a:r>
              </a:p>
              <a:p>
                <a:pPr algn="ctr" eaLnBrk="1" hangingPunct="1"/>
                <a:r>
                  <a:rPr lang="de-DE" altLang="en-US" dirty="0"/>
                  <a:t>3.20%</a:t>
                </a:r>
                <a:endParaRPr lang="en-US" altLang="en-US" dirty="0"/>
              </a:p>
            </p:txBody>
          </p:sp>
          <p:sp>
            <p:nvSpPr>
              <p:cNvPr id="15" name="TextBox 10"/>
              <p:cNvSpPr txBox="1">
                <a:spLocks noChangeArrowheads="1"/>
              </p:cNvSpPr>
              <p:nvPr/>
            </p:nvSpPr>
            <p:spPr bwMode="auto">
              <a:xfrm>
                <a:off x="4781550" y="3136946"/>
                <a:ext cx="1219200" cy="4501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algn="ctr" eaLnBrk="1" hangingPunct="1"/>
                <a:r>
                  <a:rPr lang="de-DE" altLang="en-US" dirty="0"/>
                  <a:t>Node 269</a:t>
                </a:r>
              </a:p>
              <a:p>
                <a:pPr algn="ctr" eaLnBrk="1" hangingPunct="1"/>
                <a:r>
                  <a:rPr lang="de-DE" altLang="en-US" dirty="0"/>
                  <a:t>Failure Pct</a:t>
                </a:r>
              </a:p>
              <a:p>
                <a:pPr algn="ctr" eaLnBrk="1" hangingPunct="1"/>
                <a:r>
                  <a:rPr lang="de-DE" altLang="en-US" dirty="0"/>
                  <a:t>15.98%</a:t>
                </a:r>
                <a:endParaRPr lang="en-US" altLang="en-US" dirty="0"/>
              </a:p>
            </p:txBody>
          </p:sp>
          <p:sp>
            <p:nvSpPr>
              <p:cNvPr id="16" name="TextBox 11"/>
              <p:cNvSpPr txBox="1">
                <a:spLocks noChangeArrowheads="1"/>
              </p:cNvSpPr>
              <p:nvPr/>
            </p:nvSpPr>
            <p:spPr bwMode="auto">
              <a:xfrm>
                <a:off x="6333205" y="3136946"/>
                <a:ext cx="1219200" cy="4501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algn="ctr" eaLnBrk="1" hangingPunct="1"/>
                <a:r>
                  <a:rPr lang="de-DE" altLang="en-US" dirty="0" err="1"/>
                  <a:t>Node</a:t>
                </a:r>
                <a:r>
                  <a:rPr lang="de-DE" altLang="en-US" dirty="0"/>
                  <a:t> 287</a:t>
                </a:r>
              </a:p>
              <a:p>
                <a:pPr algn="ctr" eaLnBrk="1" hangingPunct="1"/>
                <a:r>
                  <a:rPr lang="de-DE" altLang="en-US" dirty="0" err="1"/>
                  <a:t>Failure</a:t>
                </a:r>
                <a:r>
                  <a:rPr lang="de-DE" altLang="en-US" dirty="0"/>
                  <a:t> </a:t>
                </a:r>
                <a:r>
                  <a:rPr lang="de-DE" altLang="en-US" dirty="0" err="1"/>
                  <a:t>Pct</a:t>
                </a:r>
                <a:endParaRPr lang="de-DE" altLang="en-US" dirty="0"/>
              </a:p>
              <a:p>
                <a:pPr algn="ctr" eaLnBrk="1" hangingPunct="1"/>
                <a:r>
                  <a:rPr lang="de-DE" altLang="en-US" dirty="0"/>
                  <a:t>0.00%</a:t>
                </a:r>
                <a:endParaRPr lang="en-US" altLang="en-US" dirty="0"/>
              </a:p>
            </p:txBody>
          </p:sp>
          <p:sp>
            <p:nvSpPr>
              <p:cNvPr id="17" name="TextBox 12"/>
              <p:cNvSpPr txBox="1">
                <a:spLocks noChangeArrowheads="1"/>
              </p:cNvSpPr>
              <p:nvPr/>
            </p:nvSpPr>
            <p:spPr bwMode="auto">
              <a:xfrm>
                <a:off x="7914904" y="3136946"/>
                <a:ext cx="1219200" cy="4501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algn="ctr" eaLnBrk="1" hangingPunct="1"/>
                <a:r>
                  <a:rPr lang="de-DE" altLang="en-US" dirty="0"/>
                  <a:t>Node 288</a:t>
                </a:r>
              </a:p>
              <a:p>
                <a:pPr algn="ctr" eaLnBrk="1" hangingPunct="1"/>
                <a:r>
                  <a:rPr lang="de-DE" altLang="en-US" dirty="0"/>
                  <a:t>Failure Pct</a:t>
                </a:r>
              </a:p>
              <a:p>
                <a:pPr algn="ctr" eaLnBrk="1" hangingPunct="1"/>
                <a:r>
                  <a:rPr lang="de-DE" altLang="en-US" dirty="0"/>
                  <a:t>100.00%</a:t>
                </a:r>
                <a:endParaRPr lang="en-US" altLang="en-US" dirty="0"/>
              </a:p>
            </p:txBody>
          </p:sp>
          <p:cxnSp>
            <p:nvCxnSpPr>
              <p:cNvPr id="18" name="Straight Connector 17"/>
              <p:cNvCxnSpPr/>
              <p:nvPr/>
            </p:nvCxnSpPr>
            <p:spPr bwMode="auto">
              <a:xfrm>
                <a:off x="3810000" y="3419125"/>
                <a:ext cx="0" cy="107950"/>
              </a:xfrm>
              <a:prstGeom prst="line">
                <a:avLst/>
              </a:prstGeom>
              <a:ln w="25400"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/>
              <p:cNvCxnSpPr/>
              <p:nvPr/>
            </p:nvCxnSpPr>
            <p:spPr bwMode="auto">
              <a:xfrm>
                <a:off x="5375063" y="3427059"/>
                <a:ext cx="0" cy="107950"/>
              </a:xfrm>
              <a:prstGeom prst="line">
                <a:avLst/>
              </a:prstGeom>
              <a:ln w="25400"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689548564"/>
      </p:ext>
    </p:extLst>
  </p:cSld>
  <p:clrMapOvr>
    <a:masterClrMapping/>
  </p:clrMapOvr>
  <p:transition xmlns:p14="http://schemas.microsoft.com/office/powerpoint/2010/main"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de-DE" altLang="en-US" dirty="0">
                <a:ea typeface="ヒラギノ角ゴ Pro W3" pitchFamily="-108" charset="-128"/>
              </a:rPr>
              <a:t>Model Accuracy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en-US" dirty="0">
                <a:latin typeface="Arial" pitchFamily="34" charset="0"/>
                <a:ea typeface="ヒラギノ角ゴ Pro W3" pitchFamily="-108" charset="-128"/>
                <a:cs typeface="Arial" pitchFamily="34" charset="0"/>
              </a:rPr>
              <a:t>Analytics – Predictive Modeling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1"/>
          <p:cNvSpPr txBox="1">
            <a:spLocks/>
          </p:cNvSpPr>
          <p:nvPr/>
        </p:nvSpPr>
        <p:spPr>
          <a:xfrm>
            <a:off x="1447800" y="3048000"/>
            <a:ext cx="7772923" cy="308161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1450" algn="l" defTabSz="914400" rtl="0" eaLnBrk="1" latinLnBrk="0" hangingPunct="1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18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00" indent="-22860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900" b="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457200" eaLnBrk="0" hangingPunct="0">
              <a:spcBef>
                <a:spcPts val="2100"/>
              </a:spcBef>
              <a:spcAft>
                <a:spcPct val="0"/>
              </a:spcAft>
              <a:buClr>
                <a:srgbClr val="D3002D"/>
              </a:buClr>
              <a:buSzPct val="100000"/>
              <a:buFont typeface="Wingdings" pitchFamily="2" charset="2"/>
              <a:buChar char="§"/>
              <a:defRPr/>
            </a:pPr>
            <a:r>
              <a:rPr lang="en-GB" altLang="en-US" sz="4300" dirty="0"/>
              <a:t>High degree of accuracy of the predictive model</a:t>
            </a:r>
          </a:p>
          <a:p>
            <a:pPr lvl="1" indent="-457200" eaLnBrk="0" hangingPunct="0">
              <a:spcBef>
                <a:spcPts val="2100"/>
              </a:spcBef>
              <a:spcAft>
                <a:spcPct val="0"/>
              </a:spcAft>
              <a:buClr>
                <a:srgbClr val="D3002D"/>
              </a:buClr>
              <a:buSzPct val="100000"/>
              <a:buFont typeface="Wingdings" pitchFamily="2" charset="2"/>
              <a:buChar char="§"/>
              <a:defRPr/>
            </a:pPr>
            <a:r>
              <a:rPr lang="en-GB" sz="4300" dirty="0"/>
              <a:t>Very similar results on training and test (holdout) data sets (no </a:t>
            </a:r>
            <a:r>
              <a:rPr lang="en-GB" sz="4300" dirty="0" err="1"/>
              <a:t>overfitting</a:t>
            </a:r>
            <a:r>
              <a:rPr lang="en-GB" sz="4300" dirty="0"/>
              <a:t>)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9602299"/>
              </p:ext>
            </p:extLst>
          </p:nvPr>
        </p:nvGraphicFramePr>
        <p:xfrm>
          <a:off x="3826933" y="9697720"/>
          <a:ext cx="15375467" cy="2341880"/>
        </p:xfrm>
        <a:graphic>
          <a:graphicData uri="http://schemas.openxmlformats.org/drawingml/2006/table">
            <a:tbl>
              <a:tblPr/>
              <a:tblGrid>
                <a:gridCol w="582917"/>
                <a:gridCol w="3421464"/>
                <a:gridCol w="1622027"/>
                <a:gridCol w="1622027"/>
                <a:gridCol w="878597"/>
                <a:gridCol w="582917"/>
                <a:gridCol w="3421464"/>
                <a:gridCol w="1622027"/>
                <a:gridCol w="1622027"/>
              </a:tblGrid>
              <a:tr h="508000">
                <a:tc>
                  <a:txBody>
                    <a:bodyPr/>
                    <a:lstStyle/>
                    <a:p>
                      <a:pPr algn="l" fontAlgn="b"/>
                      <a:endParaRPr lang="en-US" sz="3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400" marR="25400" marT="254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3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400" marR="25400" marT="254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2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ediction</a:t>
                      </a:r>
                    </a:p>
                  </a:txBody>
                  <a:tcPr marL="25400" marR="25400" marT="254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CE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3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400" marR="25400" marT="254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3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400" marR="25400" marT="254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3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400" marR="25400" marT="254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2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ediction</a:t>
                      </a:r>
                    </a:p>
                  </a:txBody>
                  <a:tcPr marL="25400" marR="25400" marT="254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CE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817880">
                <a:tc>
                  <a:txBody>
                    <a:bodyPr/>
                    <a:lstStyle/>
                    <a:p>
                      <a:pPr algn="l" fontAlgn="b"/>
                      <a:r>
                        <a:rPr lang="en-US" sz="3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25400" marR="25400" marT="254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aining Data Set</a:t>
                      </a:r>
                    </a:p>
                  </a:txBody>
                  <a:tcPr marL="25400" marR="25400" marT="254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 failure</a:t>
                      </a:r>
                    </a:p>
                  </a:txBody>
                  <a:tcPr marL="25400" marR="25400" marT="254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ailure</a:t>
                      </a:r>
                    </a:p>
                  </a:txBody>
                  <a:tcPr marL="25400" marR="25400" marT="254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3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400" marR="25400" marT="254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3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25400" marR="25400" marT="254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est (holdout) Data Set</a:t>
                      </a:r>
                    </a:p>
                  </a:txBody>
                  <a:tcPr marL="25400" marR="25400" marT="254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 failure</a:t>
                      </a:r>
                    </a:p>
                  </a:txBody>
                  <a:tcPr marL="25400" marR="25400" marT="254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ailure</a:t>
                      </a:r>
                    </a:p>
                  </a:txBody>
                  <a:tcPr marL="25400" marR="25400" marT="254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CE1"/>
                    </a:solidFill>
                  </a:tcPr>
                </a:tc>
              </a:tr>
              <a:tr h="5080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2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tual</a:t>
                      </a:r>
                    </a:p>
                  </a:txBody>
                  <a:tcPr marL="25400" marR="25400" marT="2540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 failure</a:t>
                      </a:r>
                    </a:p>
                  </a:txBody>
                  <a:tcPr marL="25400" marR="25400" marT="254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9%</a:t>
                      </a:r>
                    </a:p>
                  </a:txBody>
                  <a:tcPr marL="25400" marR="25400" marT="254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%</a:t>
                      </a:r>
                    </a:p>
                  </a:txBody>
                  <a:tcPr marL="25400" marR="25400" marT="254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3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400" marR="25400" marT="254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2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tual</a:t>
                      </a:r>
                    </a:p>
                  </a:txBody>
                  <a:tcPr marL="25400" marR="25400" marT="2540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 failure</a:t>
                      </a:r>
                    </a:p>
                  </a:txBody>
                  <a:tcPr marL="25400" marR="25400" marT="254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9%</a:t>
                      </a:r>
                    </a:p>
                  </a:txBody>
                  <a:tcPr marL="25400" marR="25400" marT="254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%</a:t>
                      </a:r>
                    </a:p>
                  </a:txBody>
                  <a:tcPr marL="25400" marR="25400" marT="254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5B4"/>
                    </a:solidFill>
                  </a:tcPr>
                </a:tc>
              </a:tr>
              <a:tr h="5080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ailure</a:t>
                      </a:r>
                    </a:p>
                  </a:txBody>
                  <a:tcPr marL="25400" marR="25400" marT="254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%</a:t>
                      </a:r>
                    </a:p>
                  </a:txBody>
                  <a:tcPr marL="25400" marR="25400" marT="254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7%</a:t>
                      </a:r>
                    </a:p>
                  </a:txBody>
                  <a:tcPr marL="25400" marR="25400" marT="254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3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400" marR="25400" marT="254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ailure</a:t>
                      </a:r>
                    </a:p>
                  </a:txBody>
                  <a:tcPr marL="25400" marR="25400" marT="254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%</a:t>
                      </a:r>
                    </a:p>
                  </a:txBody>
                  <a:tcPr marL="25400" marR="25400" marT="254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4%</a:t>
                      </a:r>
                    </a:p>
                  </a:txBody>
                  <a:tcPr marL="25400" marR="25400" marT="254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2658774"/>
              </p:ext>
            </p:extLst>
          </p:nvPr>
        </p:nvGraphicFramePr>
        <p:xfrm>
          <a:off x="11887199" y="2568360"/>
          <a:ext cx="10871203" cy="62482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5791198" y="8816561"/>
            <a:ext cx="11582400" cy="1462746"/>
          </a:xfrm>
          <a:prstGeom prst="rect">
            <a:avLst/>
          </a:prstGeom>
          <a:noFill/>
        </p:spPr>
        <p:txBody>
          <a:bodyPr wrap="square" lIns="290360" tIns="145180" rIns="290360" bIns="145180">
            <a:spAutoFit/>
          </a:bodyPr>
          <a:lstStyle/>
          <a:p>
            <a:pPr algn="ctr" eaLnBrk="0" hangingPunct="0">
              <a:spcBef>
                <a:spcPct val="20000"/>
              </a:spcBef>
              <a:buClr>
                <a:schemeClr val="accent1"/>
              </a:buClr>
              <a:defRPr sz="18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de-DE" sz="3800" b="1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nfusion Matrix on Training and Test Data Sets</a:t>
            </a:r>
          </a:p>
          <a:p>
            <a:pPr marL="841841" indent="-841841">
              <a:defRPr/>
            </a:pPr>
            <a:endParaRPr lang="de-DE" sz="3800" dirty="0">
              <a:solidFill>
                <a:srgbClr val="003366"/>
              </a:solidFill>
              <a:latin typeface="Calibri"/>
              <a:cs typeface="Calibri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06974789"/>
      </p:ext>
    </p:extLst>
  </p:cSld>
  <p:clrMapOvr>
    <a:masterClrMapping/>
  </p:clrMapOvr>
  <p:transition xmlns:p14="http://schemas.microsoft.com/office/powerpoint/2010/main"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457200" lvl="1" indent="-457200">
              <a:lnSpc>
                <a:spcPct val="85000"/>
              </a:lnSpc>
              <a:spcBef>
                <a:spcPts val="2100"/>
              </a:spcBef>
              <a:buFont typeface="Wingdings" pitchFamily="2" charset="2"/>
              <a:buChar char="§"/>
              <a:defRPr/>
            </a:pPr>
            <a:r>
              <a:rPr lang="en-US" sz="4300" kern="1200" dirty="0">
                <a:sym typeface="Gill Sans" pitchFamily="-84" charset="0"/>
              </a:rPr>
              <a:t>Analysis on Workshop Reports and Diagnostic Events (not cyclical)</a:t>
            </a:r>
          </a:p>
          <a:p>
            <a:pPr marL="997693" lvl="2" indent="-457200">
              <a:lnSpc>
                <a:spcPct val="95000"/>
              </a:lnSpc>
              <a:spcBef>
                <a:spcPts val="2100"/>
              </a:spcBef>
              <a:buFont typeface="Wingdings" pitchFamily="2" charset="2"/>
              <a:buChar char="§"/>
              <a:defRPr/>
            </a:pPr>
            <a:r>
              <a:rPr lang="en-US" sz="2800" dirty="0">
                <a:ea typeface="ＭＳ Ｐゴシック" charset="-128"/>
              </a:rPr>
              <a:t>&gt;</a:t>
            </a:r>
            <a:r>
              <a:rPr lang="en-US" kern="1200" dirty="0">
                <a:sym typeface="Gill Sans" pitchFamily="-84" charset="0"/>
              </a:rPr>
              <a:t>10000 Workshop Reports</a:t>
            </a:r>
          </a:p>
          <a:p>
            <a:pPr marL="997693" lvl="2" indent="-457200">
              <a:lnSpc>
                <a:spcPct val="95000"/>
              </a:lnSpc>
              <a:spcBef>
                <a:spcPts val="2100"/>
              </a:spcBef>
              <a:buFont typeface="Wingdings" pitchFamily="2" charset="2"/>
              <a:buChar char="§"/>
              <a:defRPr/>
            </a:pPr>
            <a:r>
              <a:rPr lang="en-US" kern="1200" dirty="0">
                <a:sym typeface="Gill Sans" pitchFamily="-84" charset="0"/>
              </a:rPr>
              <a:t>&gt;70m Diagnostic Events (&gt;40bn data sets since initial commissioning)</a:t>
            </a:r>
          </a:p>
          <a:p>
            <a:pPr marL="427105" indent="-427105">
              <a:spcBef>
                <a:spcPts val="1429"/>
              </a:spcBef>
              <a:spcAft>
                <a:spcPts val="0"/>
              </a:spcAft>
              <a:buClr>
                <a:schemeClr val="accent3"/>
              </a:buClr>
              <a:defRPr/>
            </a:pPr>
            <a:endParaRPr lang="en-US" sz="3300" dirty="0">
              <a:ea typeface="ＭＳ Ｐゴシック" charset="-128"/>
            </a:endParaRPr>
          </a:p>
          <a:p>
            <a:pPr marL="457200" lvl="1" indent="-457200">
              <a:lnSpc>
                <a:spcPct val="85000"/>
              </a:lnSpc>
              <a:spcBef>
                <a:spcPts val="2100"/>
              </a:spcBef>
              <a:buFont typeface="Wingdings" pitchFamily="2" charset="2"/>
              <a:buChar char="§"/>
              <a:defRPr/>
            </a:pPr>
            <a:r>
              <a:rPr lang="en-US" sz="4300" kern="1200" dirty="0">
                <a:sym typeface="Gill Sans" pitchFamily="-84" charset="0"/>
              </a:rPr>
              <a:t>Exploratory Approach</a:t>
            </a:r>
          </a:p>
          <a:p>
            <a:pPr marL="997693" lvl="2" indent="-457200">
              <a:lnSpc>
                <a:spcPct val="95000"/>
              </a:lnSpc>
              <a:spcBef>
                <a:spcPts val="2100"/>
              </a:spcBef>
              <a:buFont typeface="Wingdings" pitchFamily="2" charset="2"/>
              <a:buChar char="§"/>
              <a:defRPr/>
            </a:pPr>
            <a:r>
              <a:rPr lang="en-US" kern="1200" dirty="0">
                <a:sym typeface="Gill Sans" pitchFamily="-84" charset="0"/>
              </a:rPr>
              <a:t>Understand timelines, failure categories, </a:t>
            </a:r>
            <a:r>
              <a:rPr lang="en-US" kern="1200" dirty="0" err="1">
                <a:sym typeface="Gill Sans" pitchFamily="-84" charset="0"/>
              </a:rPr>
              <a:t>etc</a:t>
            </a:r>
            <a:endParaRPr lang="en-US" kern="1200" dirty="0">
              <a:sym typeface="Gill Sans" pitchFamily="-84" charset="0"/>
            </a:endParaRPr>
          </a:p>
          <a:p>
            <a:pPr marL="997693" lvl="2" indent="-457200">
              <a:lnSpc>
                <a:spcPct val="95000"/>
              </a:lnSpc>
              <a:spcBef>
                <a:spcPts val="2100"/>
              </a:spcBef>
              <a:buFont typeface="Wingdings" pitchFamily="2" charset="2"/>
              <a:buChar char="§"/>
              <a:defRPr/>
            </a:pPr>
            <a:r>
              <a:rPr lang="en-US" kern="1200" dirty="0">
                <a:sym typeface="Gill Sans" pitchFamily="-84" charset="0"/>
              </a:rPr>
              <a:t>Develop method to prioritize components for further analysis</a:t>
            </a:r>
          </a:p>
          <a:p>
            <a:pPr marL="427105" indent="-427105">
              <a:spcBef>
                <a:spcPts val="1429"/>
              </a:spcBef>
              <a:spcAft>
                <a:spcPts val="0"/>
              </a:spcAft>
              <a:buClr>
                <a:schemeClr val="accent3"/>
              </a:buClr>
              <a:defRPr/>
            </a:pPr>
            <a:endParaRPr lang="en-US" sz="3300" dirty="0">
              <a:ea typeface="ＭＳ Ｐゴシック" charset="-128"/>
            </a:endParaRPr>
          </a:p>
          <a:p>
            <a:pPr marL="457200" lvl="1" indent="-457200">
              <a:lnSpc>
                <a:spcPct val="85000"/>
              </a:lnSpc>
              <a:spcBef>
                <a:spcPts val="2100"/>
              </a:spcBef>
              <a:buFont typeface="Wingdings" pitchFamily="2" charset="2"/>
              <a:buChar char="§"/>
              <a:defRPr/>
            </a:pPr>
            <a:r>
              <a:rPr lang="en-US" sz="4600" kern="1200" dirty="0">
                <a:sym typeface="Gill Sans" pitchFamily="-84" charset="0"/>
              </a:rPr>
              <a:t>Association/Sequence Analysis on combined Failure and Diagnostic Data</a:t>
            </a:r>
          </a:p>
          <a:p>
            <a:pPr marL="997693" lvl="2" indent="-457200">
              <a:lnSpc>
                <a:spcPct val="95000"/>
              </a:lnSpc>
              <a:spcBef>
                <a:spcPts val="2100"/>
              </a:spcBef>
              <a:buFont typeface="Wingdings" pitchFamily="2" charset="2"/>
              <a:buChar char="§"/>
              <a:defRPr/>
            </a:pPr>
            <a:r>
              <a:rPr lang="en-US" sz="4100" kern="1200" dirty="0">
                <a:sym typeface="Gill Sans" pitchFamily="-84" charset="0"/>
              </a:rPr>
              <a:t>Are there patterns of diagnostic codes happening before Failures?</a:t>
            </a:r>
          </a:p>
          <a:p>
            <a:pPr marL="997693" lvl="2" indent="-457200">
              <a:lnSpc>
                <a:spcPct val="95000"/>
              </a:lnSpc>
              <a:spcBef>
                <a:spcPts val="2100"/>
              </a:spcBef>
              <a:buFont typeface="Wingdings" pitchFamily="2" charset="2"/>
              <a:buChar char="§"/>
              <a:defRPr/>
            </a:pPr>
            <a:r>
              <a:rPr lang="en-US" sz="4100" kern="1200" dirty="0">
                <a:sym typeface="Gill Sans" pitchFamily="-84" charset="0"/>
              </a:rPr>
              <a:t>Look at groups of Diagnostic Codes as well as sequences of diagnostic codes </a:t>
            </a:r>
          </a:p>
          <a:p>
            <a:pPr marL="997693" lvl="2" indent="-457200">
              <a:lnSpc>
                <a:spcPct val="95000"/>
              </a:lnSpc>
              <a:spcBef>
                <a:spcPts val="2100"/>
              </a:spcBef>
              <a:buFont typeface="Wingdings" pitchFamily="2" charset="2"/>
              <a:buChar char="§"/>
              <a:defRPr/>
            </a:pPr>
            <a:r>
              <a:rPr lang="en-US" sz="4100" kern="1200" dirty="0">
                <a:sym typeface="Gill Sans" pitchFamily="-84" charset="0"/>
              </a:rPr>
              <a:t>Identify rules with Confidence values, which represent a f</a:t>
            </a:r>
            <a:r>
              <a:rPr lang="en-US" sz="4100" kern="1200" dirty="0">
                <a:sym typeface="Wingdings" panose="05000000000000000000" pitchFamily="2" charset="2"/>
              </a:rPr>
              <a:t>ailure probability given the Diagnostic pattern found</a:t>
            </a:r>
          </a:p>
          <a:p>
            <a:pPr marL="997693" lvl="2" indent="-457200">
              <a:lnSpc>
                <a:spcPct val="95000"/>
              </a:lnSpc>
              <a:spcBef>
                <a:spcPts val="2100"/>
              </a:spcBef>
              <a:buFont typeface="Wingdings" pitchFamily="2" charset="2"/>
              <a:buChar char="§"/>
              <a:defRPr/>
            </a:pPr>
            <a:r>
              <a:rPr lang="en-US" sz="4100" kern="1200" dirty="0">
                <a:sym typeface="Wingdings" panose="05000000000000000000" pitchFamily="2" charset="2"/>
              </a:rPr>
              <a:t>Start on high level of Failures („Failure with component replaced“) then do the same analysis for individual components</a:t>
            </a:r>
            <a:endParaRPr lang="en-US" sz="4100" kern="1200" dirty="0">
              <a:sym typeface="Gill Sans" pitchFamily="-84" charset="0"/>
            </a:endParaRPr>
          </a:p>
          <a:p>
            <a:pPr marL="427105" indent="-427105">
              <a:spcBef>
                <a:spcPts val="1429"/>
              </a:spcBef>
              <a:spcAft>
                <a:spcPts val="0"/>
              </a:spcAft>
              <a:buClr>
                <a:schemeClr val="accent3"/>
              </a:buClr>
              <a:defRPr/>
            </a:pPr>
            <a:endParaRPr lang="en-US" sz="3300" dirty="0">
              <a:ea typeface="ＭＳ Ｐゴシック" charset="-128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de-DE" dirty="0" smtClean="0"/>
              <a:t>Regional Trains in Benelux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ject Example 2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3294905"/>
      </p:ext>
    </p:extLst>
  </p:cSld>
  <p:clrMapOvr>
    <a:masterClrMapping/>
  </p:clrMapOvr>
  <p:transition xmlns:p14="http://schemas.microsoft.com/office/powerpoint/2010/main"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8200" y="3200400"/>
            <a:ext cx="15798026" cy="853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3332">
              <a:lnSpc>
                <a:spcPct val="150000"/>
              </a:lnSpc>
              <a:spcBef>
                <a:spcPts val="1429"/>
              </a:spcBef>
              <a:spcAft>
                <a:spcPts val="0"/>
              </a:spcAft>
              <a:buClrTx/>
              <a:defRPr/>
            </a:pPr>
            <a:r>
              <a:rPr lang="en-US" sz="3300" kern="1200" dirty="0">
                <a:ea typeface="ＭＳ Ｐゴシック" charset="-128"/>
              </a:rPr>
              <a:t>Number of occurrences (failures)</a:t>
            </a:r>
          </a:p>
          <a:p>
            <a:pPr marL="283332">
              <a:lnSpc>
                <a:spcPct val="150000"/>
              </a:lnSpc>
              <a:spcBef>
                <a:spcPts val="1429"/>
              </a:spcBef>
              <a:spcAft>
                <a:spcPts val="0"/>
              </a:spcAft>
              <a:buClrTx/>
              <a:defRPr/>
            </a:pPr>
            <a:endParaRPr lang="en-US" sz="3300" kern="1200" dirty="0">
              <a:ea typeface="ＭＳ Ｐゴシック" charset="-128"/>
            </a:endParaRPr>
          </a:p>
          <a:p>
            <a:pPr marL="444500" indent="-444500">
              <a:spcBef>
                <a:spcPts val="1429"/>
              </a:spcBef>
              <a:spcAft>
                <a:spcPts val="0"/>
              </a:spcAft>
              <a:buClrTx/>
              <a:tabLst>
                <a:tab pos="371475" algn="l"/>
              </a:tabLst>
              <a:defRPr/>
            </a:pPr>
            <a:r>
              <a:rPr lang="en-US" sz="3300" kern="1200" dirty="0">
                <a:ea typeface="ＭＳ Ｐゴシック" charset="-128"/>
              </a:rPr>
              <a:t>Percentage of occurrences </a:t>
            </a:r>
            <a:r>
              <a:rPr lang="en-US" sz="3300" dirty="0">
                <a:ea typeface="ＭＳ Ｐゴシック" charset="-128"/>
              </a:rPr>
              <a:t>of </a:t>
            </a:r>
            <a:endParaRPr lang="en-US" sz="3300" dirty="0" smtClean="0">
              <a:ea typeface="ＭＳ Ｐゴシック" charset="-128"/>
            </a:endParaRPr>
          </a:p>
          <a:p>
            <a:pPr marL="0" indent="0">
              <a:spcBef>
                <a:spcPts val="1429"/>
              </a:spcBef>
              <a:spcAft>
                <a:spcPts val="0"/>
              </a:spcAft>
              <a:buClrTx/>
              <a:buNone/>
              <a:tabLst>
                <a:tab pos="430883" algn="l"/>
              </a:tabLst>
              <a:defRPr/>
            </a:pPr>
            <a:r>
              <a:rPr lang="en-US" sz="3300" dirty="0">
                <a:ea typeface="ＭＳ Ｐゴシック" charset="-128"/>
              </a:rPr>
              <a:t>	</a:t>
            </a:r>
            <a:r>
              <a:rPr lang="en-US" sz="3300" dirty="0" smtClean="0">
                <a:ea typeface="ＭＳ Ｐゴシック" charset="-128"/>
              </a:rPr>
              <a:t>Priority</a:t>
            </a:r>
            <a:r>
              <a:rPr lang="en-US" sz="3300" kern="1200" dirty="0" smtClean="0">
                <a:ea typeface="ＭＳ Ｐゴシック" charset="-128"/>
              </a:rPr>
              <a:t> </a:t>
            </a:r>
            <a:r>
              <a:rPr lang="en-US" sz="3300" kern="1200" dirty="0">
                <a:ea typeface="ＭＳ Ｐゴシック" charset="-128"/>
              </a:rPr>
              <a:t>A or B</a:t>
            </a:r>
          </a:p>
          <a:p>
            <a:pPr>
              <a:lnSpc>
                <a:spcPct val="150000"/>
              </a:lnSpc>
              <a:spcBef>
                <a:spcPts val="1429"/>
              </a:spcBef>
              <a:spcAft>
                <a:spcPts val="0"/>
              </a:spcAft>
              <a:buClrTx/>
              <a:defRPr/>
            </a:pPr>
            <a:endParaRPr lang="en-US" sz="3300" kern="1200" dirty="0">
              <a:ea typeface="ＭＳ Ｐゴシック" charset="-128"/>
            </a:endParaRPr>
          </a:p>
          <a:p>
            <a:pPr marL="283332">
              <a:lnSpc>
                <a:spcPct val="150000"/>
              </a:lnSpc>
              <a:spcBef>
                <a:spcPts val="1429"/>
              </a:spcBef>
              <a:spcAft>
                <a:spcPts val="0"/>
              </a:spcAft>
              <a:buClrTx/>
              <a:defRPr/>
            </a:pPr>
            <a:r>
              <a:rPr lang="en-US" sz="3300" kern="1200" dirty="0">
                <a:ea typeface="ＭＳ Ｐゴシック" charset="-128"/>
              </a:rPr>
              <a:t>Percentage of component changes</a:t>
            </a:r>
          </a:p>
          <a:p>
            <a:pPr marL="283332">
              <a:lnSpc>
                <a:spcPct val="150000"/>
              </a:lnSpc>
              <a:spcBef>
                <a:spcPts val="1429"/>
              </a:spcBef>
              <a:spcAft>
                <a:spcPts val="0"/>
              </a:spcAft>
              <a:buClrTx/>
              <a:defRPr/>
            </a:pPr>
            <a:endParaRPr lang="en-US" sz="3300" kern="1200" dirty="0">
              <a:ea typeface="ＭＳ Ｐゴシック" charset="-128"/>
            </a:endParaRPr>
          </a:p>
          <a:p>
            <a:pPr marL="283332">
              <a:lnSpc>
                <a:spcPct val="150000"/>
              </a:lnSpc>
              <a:spcBef>
                <a:spcPts val="1429"/>
              </a:spcBef>
              <a:spcAft>
                <a:spcPts val="0"/>
              </a:spcAft>
              <a:buClrTx/>
              <a:defRPr/>
            </a:pPr>
            <a:r>
              <a:rPr lang="en-US" sz="3300" kern="1200" dirty="0">
                <a:ea typeface="ＭＳ Ｐゴシック" charset="-128"/>
              </a:rPr>
              <a:t>Average downtime (min)</a:t>
            </a:r>
          </a:p>
          <a:p>
            <a:pPr marL="283332">
              <a:lnSpc>
                <a:spcPct val="150000"/>
              </a:lnSpc>
              <a:spcBef>
                <a:spcPts val="1429"/>
              </a:spcBef>
              <a:spcAft>
                <a:spcPts val="0"/>
              </a:spcAft>
              <a:buClrTx/>
              <a:defRPr/>
            </a:pPr>
            <a:endParaRPr lang="en-US" sz="3300" kern="1200" dirty="0">
              <a:ea typeface="ＭＳ Ｐゴシック" charset="-128"/>
            </a:endParaRPr>
          </a:p>
          <a:p>
            <a:pPr marL="283332">
              <a:lnSpc>
                <a:spcPct val="150000"/>
              </a:lnSpc>
              <a:spcBef>
                <a:spcPts val="1429"/>
              </a:spcBef>
              <a:spcAft>
                <a:spcPts val="0"/>
              </a:spcAft>
              <a:buClrTx/>
              <a:defRPr/>
            </a:pPr>
            <a:r>
              <a:rPr lang="en-US" sz="3300" kern="1200" dirty="0">
                <a:ea typeface="ＭＳ Ｐゴシック" charset="-128"/>
              </a:rPr>
              <a:t>Average overall repair effort (min)</a:t>
            </a:r>
          </a:p>
          <a:p>
            <a:pPr marL="253237" indent="-427105">
              <a:lnSpc>
                <a:spcPct val="150000"/>
              </a:lnSpc>
              <a:spcBef>
                <a:spcPts val="1429"/>
              </a:spcBef>
              <a:spcAft>
                <a:spcPts val="0"/>
              </a:spcAft>
              <a:buClr>
                <a:schemeClr val="accent3"/>
              </a:buClr>
              <a:defRPr/>
            </a:pPr>
            <a:endParaRPr lang="en-US" sz="3300" kern="1200" dirty="0">
              <a:ea typeface="ＭＳ Ｐゴシック" charset="-128"/>
            </a:endParaRPr>
          </a:p>
          <a:p>
            <a:pPr marL="253237" indent="-427105">
              <a:lnSpc>
                <a:spcPct val="150000"/>
              </a:lnSpc>
              <a:spcBef>
                <a:spcPts val="1429"/>
              </a:spcBef>
              <a:spcAft>
                <a:spcPts val="0"/>
              </a:spcAft>
              <a:buClr>
                <a:schemeClr val="accent3"/>
              </a:buClr>
              <a:defRPr/>
            </a:pPr>
            <a:endParaRPr lang="en-US" sz="3300" kern="1200" dirty="0">
              <a:ea typeface="ＭＳ Ｐゴシック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de-DE" dirty="0" smtClean="0"/>
              <a:t>Using </a:t>
            </a:r>
            <a:r>
              <a:rPr lang="de-DE" dirty="0"/>
              <a:t>selected KPI‘s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rioritization </a:t>
            </a:r>
            <a:r>
              <a:rPr lang="en-US" dirty="0" smtClean="0"/>
              <a:t>of Component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589675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78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sz="5700" dirty="0"/>
              <a:t>Multiple Component Fails Analysis</a:t>
            </a:r>
          </a:p>
        </p:txBody>
      </p:sp>
      <p:sp>
        <p:nvSpPr>
          <p:cNvPr id="8478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39332" y="2825749"/>
            <a:ext cx="10752669" cy="9505950"/>
          </a:xfrm>
        </p:spPr>
        <p:txBody>
          <a:bodyPr/>
          <a:lstStyle/>
          <a:p>
            <a:pPr>
              <a:spcBef>
                <a:spcPts val="1429"/>
              </a:spcBef>
              <a:spcAft>
                <a:spcPts val="0"/>
              </a:spcAft>
              <a:buClrTx/>
              <a:defRPr/>
            </a:pPr>
            <a:r>
              <a:rPr lang="en-GB" sz="3800" kern="1200" dirty="0">
                <a:ea typeface="ＭＳ Ｐゴシック" charset="-128"/>
              </a:rPr>
              <a:t>Multiple fails are co-occurring fails</a:t>
            </a:r>
          </a:p>
          <a:p>
            <a:pPr marL="933579" lvl="1" indent="-680342">
              <a:spcBef>
                <a:spcPts val="1429"/>
              </a:spcBef>
              <a:spcAft>
                <a:spcPts val="0"/>
              </a:spcAft>
              <a:buClr>
                <a:schemeClr val="accent3"/>
              </a:buClr>
              <a:buFont typeface="Century Gothic" panose="020B0502020202020204" pitchFamily="34" charset="0"/>
              <a:buChar char="−"/>
              <a:defRPr/>
            </a:pPr>
            <a:r>
              <a:rPr lang="en-GB" sz="3300" kern="1200" dirty="0">
                <a:ea typeface="ＭＳ Ｐゴシック" charset="-128"/>
              </a:rPr>
              <a:t>Failure happens in the same train within a certain time period (e.g. month)</a:t>
            </a:r>
          </a:p>
          <a:p>
            <a:pPr marL="680342" lvl="1" indent="-427105">
              <a:spcBef>
                <a:spcPts val="1429"/>
              </a:spcBef>
              <a:spcAft>
                <a:spcPts val="0"/>
              </a:spcAft>
              <a:buClr>
                <a:schemeClr val="accent3"/>
              </a:buClr>
              <a:buNone/>
              <a:defRPr/>
            </a:pPr>
            <a:endParaRPr lang="en-GB" sz="3300" kern="1200" dirty="0">
              <a:ea typeface="ＭＳ Ｐゴシック" charset="-128"/>
            </a:endParaRPr>
          </a:p>
          <a:p>
            <a:pPr>
              <a:spcBef>
                <a:spcPts val="1429"/>
              </a:spcBef>
              <a:spcAft>
                <a:spcPts val="0"/>
              </a:spcAft>
              <a:buClrTx/>
              <a:defRPr/>
            </a:pPr>
            <a:r>
              <a:rPr lang="en-GB" sz="3800" kern="1200" dirty="0">
                <a:ea typeface="ＭＳ Ｐゴシック" charset="-128"/>
              </a:rPr>
              <a:t>Potential causes</a:t>
            </a:r>
          </a:p>
          <a:p>
            <a:pPr marL="933579" lvl="1" indent="-680342">
              <a:spcBef>
                <a:spcPts val="1429"/>
              </a:spcBef>
              <a:spcAft>
                <a:spcPts val="0"/>
              </a:spcAft>
              <a:buClrTx/>
              <a:buFont typeface="Arial" panose="020B0604020202020204" pitchFamily="34" charset="0"/>
              <a:buChar char="−"/>
              <a:defRPr/>
            </a:pPr>
            <a:r>
              <a:rPr lang="en-GB" sz="3300" kern="1200" dirty="0">
                <a:ea typeface="ＭＳ Ｐゴシック" charset="-128"/>
              </a:rPr>
              <a:t>Associated failures</a:t>
            </a:r>
          </a:p>
          <a:p>
            <a:pPr marL="933579" lvl="1" indent="-680342">
              <a:spcBef>
                <a:spcPts val="1429"/>
              </a:spcBef>
              <a:spcAft>
                <a:spcPts val="0"/>
              </a:spcAft>
              <a:buClrTx/>
              <a:buFont typeface="Arial" panose="020B0604020202020204" pitchFamily="34" charset="0"/>
              <a:buChar char="−"/>
              <a:defRPr/>
            </a:pPr>
            <a:r>
              <a:rPr lang="en-GB" sz="3300" kern="1200" dirty="0">
                <a:ea typeface="ＭＳ Ｐゴシック" charset="-128"/>
              </a:rPr>
              <a:t>Serial failures (Comp. is associated with itself)</a:t>
            </a:r>
          </a:p>
          <a:p>
            <a:pPr marL="933579" lvl="1" indent="-680342">
              <a:spcBef>
                <a:spcPts val="1429"/>
              </a:spcBef>
              <a:spcAft>
                <a:spcPts val="0"/>
              </a:spcAft>
              <a:buClrTx/>
              <a:buFont typeface="Arial" panose="020B0604020202020204" pitchFamily="34" charset="0"/>
              <a:buChar char="−"/>
              <a:defRPr/>
            </a:pPr>
            <a:r>
              <a:rPr lang="en-GB" sz="3300" kern="1200" dirty="0">
                <a:ea typeface="ＭＳ Ｐゴシック" charset="-128"/>
              </a:rPr>
              <a:t>Random co-occurrence</a:t>
            </a:r>
          </a:p>
          <a:p>
            <a:pPr marL="933579" lvl="1" indent="-680342">
              <a:spcBef>
                <a:spcPts val="1429"/>
              </a:spcBef>
              <a:spcAft>
                <a:spcPts val="0"/>
              </a:spcAft>
              <a:buClrTx/>
              <a:buFont typeface="Arial" panose="020B0604020202020204" pitchFamily="34" charset="0"/>
              <a:buChar char="−"/>
              <a:defRPr/>
            </a:pPr>
            <a:r>
              <a:rPr lang="en-GB" sz="3300" kern="1200" dirty="0">
                <a:ea typeface="ＭＳ Ｐゴシック" charset="-128"/>
              </a:rPr>
              <a:t>Non-critical failure reported late</a:t>
            </a:r>
          </a:p>
          <a:p>
            <a:pPr marL="680342" lvl="1" indent="-427105">
              <a:spcBef>
                <a:spcPts val="1429"/>
              </a:spcBef>
              <a:spcAft>
                <a:spcPts val="0"/>
              </a:spcAft>
              <a:buClr>
                <a:schemeClr val="accent3"/>
              </a:buClr>
              <a:buNone/>
              <a:defRPr/>
            </a:pPr>
            <a:endParaRPr lang="en-GB" sz="3300" kern="1200" dirty="0">
              <a:ea typeface="ＭＳ Ｐゴシック" charset="-128"/>
            </a:endParaRPr>
          </a:p>
          <a:p>
            <a:pPr marL="608529" indent="-608529">
              <a:spcBef>
                <a:spcPts val="1429"/>
              </a:spcBef>
              <a:spcAft>
                <a:spcPts val="0"/>
              </a:spcAft>
              <a:buClrTx/>
              <a:tabLst>
                <a:tab pos="631208" algn="l"/>
              </a:tabLst>
              <a:defRPr/>
            </a:pPr>
            <a:r>
              <a:rPr lang="en-GB" sz="3800" kern="1200" dirty="0">
                <a:ea typeface="ＭＳ Ｐゴシック" charset="-128"/>
              </a:rPr>
              <a:t>Potential benefit: Clustering of Spare Part Orders/Proposals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12217402" y="2536727"/>
            <a:ext cx="11785597" cy="8207474"/>
            <a:chOff x="4475195" y="1268363"/>
            <a:chExt cx="4419599" cy="4103737"/>
          </a:xfrm>
        </p:grpSpPr>
        <p:pic>
          <p:nvPicPr>
            <p:cNvPr id="9218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93265" y="1375380"/>
              <a:ext cx="3971925" cy="37528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" name="TextBox 1"/>
            <p:cNvSpPr txBox="1"/>
            <p:nvPr/>
          </p:nvSpPr>
          <p:spPr>
            <a:xfrm>
              <a:off x="4843789" y="5075096"/>
              <a:ext cx="4051005" cy="2970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lnSpc>
                  <a:spcPct val="95000"/>
                </a:lnSpc>
                <a:spcBef>
                  <a:spcPts val="952"/>
                </a:spcBef>
              </a:pPr>
              <a:r>
                <a:rPr lang="de-DE" sz="2900" dirty="0">
                  <a:solidFill>
                    <a:srgbClr val="231F20"/>
                  </a:solidFill>
                </a:rPr>
                <a:t>     Y</a:t>
              </a:r>
              <a:r>
                <a:rPr lang="de-DE" sz="3300" baseline="-25000" dirty="0">
                  <a:solidFill>
                    <a:srgbClr val="231F20"/>
                  </a:solidFill>
                </a:rPr>
                <a:t>1</a:t>
              </a:r>
              <a:r>
                <a:rPr lang="de-DE" sz="3300" dirty="0">
                  <a:solidFill>
                    <a:srgbClr val="231F20"/>
                  </a:solidFill>
                </a:rPr>
                <a:t>      </a:t>
              </a:r>
              <a:r>
                <a:rPr lang="de-DE" sz="3300" dirty="0" smtClean="0">
                  <a:solidFill>
                    <a:srgbClr val="231F20"/>
                  </a:solidFill>
                </a:rPr>
                <a:t> </a:t>
              </a:r>
              <a:r>
                <a:rPr lang="de-DE" sz="2900" dirty="0" smtClean="0">
                  <a:solidFill>
                    <a:srgbClr val="231F20"/>
                  </a:solidFill>
                </a:rPr>
                <a:t>Y</a:t>
              </a:r>
              <a:r>
                <a:rPr lang="de-DE" sz="3300" baseline="-25000" dirty="0" smtClean="0">
                  <a:solidFill>
                    <a:srgbClr val="231F20"/>
                  </a:solidFill>
                </a:rPr>
                <a:t>2            </a:t>
              </a:r>
              <a:r>
                <a:rPr lang="de-DE" sz="2900" dirty="0" smtClean="0">
                  <a:solidFill>
                    <a:srgbClr val="231F20"/>
                  </a:solidFill>
                </a:rPr>
                <a:t>Y</a:t>
              </a:r>
              <a:r>
                <a:rPr lang="de-DE" sz="3300" baseline="-25000" dirty="0" smtClean="0">
                  <a:solidFill>
                    <a:srgbClr val="231F20"/>
                  </a:solidFill>
                </a:rPr>
                <a:t>3          </a:t>
              </a:r>
              <a:r>
                <a:rPr lang="de-DE" sz="2900" dirty="0" smtClean="0">
                  <a:solidFill>
                    <a:srgbClr val="231F20"/>
                  </a:solidFill>
                </a:rPr>
                <a:t>Y</a:t>
              </a:r>
              <a:r>
                <a:rPr lang="de-DE" sz="3300" baseline="-25000" dirty="0" smtClean="0">
                  <a:solidFill>
                    <a:srgbClr val="231F20"/>
                  </a:solidFill>
                </a:rPr>
                <a:t>4          </a:t>
              </a:r>
              <a:r>
                <a:rPr lang="de-DE" sz="2900" dirty="0" smtClean="0">
                  <a:solidFill>
                    <a:srgbClr val="231F20"/>
                  </a:solidFill>
                </a:rPr>
                <a:t>Y</a:t>
              </a:r>
              <a:r>
                <a:rPr lang="de-DE" sz="3300" baseline="-25000" dirty="0" smtClean="0">
                  <a:solidFill>
                    <a:srgbClr val="231F20"/>
                  </a:solidFill>
                </a:rPr>
                <a:t>5           </a:t>
              </a:r>
              <a:r>
                <a:rPr lang="de-DE" sz="2900" dirty="0" smtClean="0">
                  <a:solidFill>
                    <a:srgbClr val="231F20"/>
                  </a:solidFill>
                </a:rPr>
                <a:t>Y</a:t>
              </a:r>
              <a:r>
                <a:rPr lang="de-DE" sz="3300" baseline="-25000" dirty="0" smtClean="0">
                  <a:solidFill>
                    <a:srgbClr val="231F20"/>
                  </a:solidFill>
                </a:rPr>
                <a:t>6           </a:t>
              </a:r>
              <a:r>
                <a:rPr lang="de-DE" sz="2900" dirty="0">
                  <a:solidFill>
                    <a:srgbClr val="231F20"/>
                  </a:solidFill>
                </a:rPr>
                <a:t>Y</a:t>
              </a:r>
              <a:r>
                <a:rPr lang="de-DE" sz="3300" baseline="-25000" dirty="0">
                  <a:solidFill>
                    <a:srgbClr val="231F20"/>
                  </a:solidFill>
                </a:rPr>
                <a:t>7         </a:t>
              </a:r>
              <a:r>
                <a:rPr lang="de-DE" sz="3300" baseline="-25000" dirty="0" smtClean="0">
                  <a:solidFill>
                    <a:srgbClr val="231F20"/>
                  </a:solidFill>
                </a:rPr>
                <a:t>  </a:t>
              </a:r>
              <a:r>
                <a:rPr lang="de-DE" sz="2900" dirty="0" smtClean="0">
                  <a:solidFill>
                    <a:srgbClr val="231F20"/>
                  </a:solidFill>
                </a:rPr>
                <a:t>Y</a:t>
              </a:r>
              <a:r>
                <a:rPr lang="de-DE" sz="3300" baseline="-25000" dirty="0" smtClean="0">
                  <a:solidFill>
                    <a:srgbClr val="231F20"/>
                  </a:solidFill>
                </a:rPr>
                <a:t>8</a:t>
              </a:r>
              <a:endParaRPr lang="en-US" sz="3300" baseline="-25000" dirty="0" err="1">
                <a:solidFill>
                  <a:srgbClr val="231F20"/>
                </a:solidFill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6035748" y="1268363"/>
              <a:ext cx="1506279" cy="26776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lnSpc>
                  <a:spcPct val="95000"/>
                </a:lnSpc>
                <a:spcBef>
                  <a:spcPts val="952"/>
                </a:spcBef>
              </a:pPr>
              <a:r>
                <a:rPr lang="de-DE" sz="2900" dirty="0">
                  <a:solidFill>
                    <a:srgbClr val="231F20"/>
                  </a:solidFill>
                </a:rPr>
                <a:t>Component Y</a:t>
              </a:r>
              <a:endParaRPr lang="en-US" sz="3300" baseline="-25000" dirty="0" err="1">
                <a:solidFill>
                  <a:srgbClr val="231F20"/>
                </a:solidFill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 rot="16200000">
              <a:off x="3818861" y="3332194"/>
              <a:ext cx="1506279" cy="19361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lnSpc>
                  <a:spcPct val="95000"/>
                </a:lnSpc>
                <a:spcBef>
                  <a:spcPts val="952"/>
                </a:spcBef>
              </a:pPr>
              <a:r>
                <a:rPr lang="de-DE" sz="2900" dirty="0">
                  <a:solidFill>
                    <a:srgbClr val="231F20"/>
                  </a:solidFill>
                </a:rPr>
                <a:t>Confidence (X,Y)</a:t>
              </a:r>
              <a:endParaRPr lang="en-US" sz="3300" baseline="-25000" dirty="0" err="1">
                <a:solidFill>
                  <a:srgbClr val="231F2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1382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219200" y="2819400"/>
            <a:ext cx="21945600" cy="8720596"/>
          </a:xfrm>
        </p:spPr>
        <p:txBody>
          <a:bodyPr/>
          <a:lstStyle/>
          <a:p>
            <a:pPr marL="646326" indent="-438443">
              <a:spcBef>
                <a:spcPts val="1429"/>
              </a:spcBef>
              <a:spcAft>
                <a:spcPts val="0"/>
              </a:spcAft>
              <a:buClrTx/>
              <a:defRPr/>
            </a:pPr>
            <a:r>
              <a:rPr lang="de-DE" sz="3800" kern="1200" dirty="0">
                <a:ea typeface="ＭＳ Ｐゴシック" charset="-128"/>
              </a:rPr>
              <a:t>We have used Teradata Warehouse Miner‘s Association and Sequence Analysis algorithms to identify rules of the following type</a:t>
            </a:r>
          </a:p>
          <a:p>
            <a:pPr marL="646326" indent="-438443">
              <a:spcBef>
                <a:spcPts val="1429"/>
              </a:spcBef>
              <a:spcAft>
                <a:spcPts val="0"/>
              </a:spcAft>
              <a:buClr>
                <a:schemeClr val="accent3"/>
              </a:buClr>
              <a:defRPr/>
            </a:pPr>
            <a:endParaRPr lang="de-DE" sz="3300" kern="1200" dirty="0">
              <a:ea typeface="ＭＳ Ｐゴシック" charset="-128"/>
            </a:endParaRPr>
          </a:p>
          <a:p>
            <a:pPr marL="646326" indent="-438443">
              <a:spcBef>
                <a:spcPts val="1429"/>
              </a:spcBef>
              <a:spcAft>
                <a:spcPts val="0"/>
              </a:spcAft>
              <a:buClrTx/>
              <a:defRPr/>
            </a:pPr>
            <a:r>
              <a:rPr lang="de-DE" sz="3800" kern="1200" dirty="0">
                <a:ea typeface="ＭＳ Ｐゴシック" charset="-128"/>
              </a:rPr>
              <a:t>Associations:</a:t>
            </a:r>
          </a:p>
          <a:p>
            <a:pPr marL="1315328" lvl="2" indent="-680342">
              <a:spcBef>
                <a:spcPts val="1429"/>
              </a:spcBef>
              <a:spcAft>
                <a:spcPts val="0"/>
              </a:spcAft>
              <a:buClr>
                <a:schemeClr val="accent3"/>
              </a:buClr>
              <a:buFont typeface="Century Gothic" panose="020B0502020202020204" pitchFamily="34" charset="0"/>
              <a:buChar char="−"/>
              <a:defRPr/>
            </a:pPr>
            <a:r>
              <a:rPr lang="de-DE" sz="3300" kern="1200" dirty="0">
                <a:ea typeface="ＭＳ Ｐゴシック" charset="-128"/>
              </a:rPr>
              <a:t>Code</a:t>
            </a:r>
            <a:r>
              <a:rPr lang="de-DE" sz="3300" kern="1200" baseline="-25000" dirty="0">
                <a:ea typeface="ＭＳ Ｐゴシック" charset="-128"/>
              </a:rPr>
              <a:t>X1</a:t>
            </a:r>
            <a:r>
              <a:rPr lang="de-DE" sz="3300" kern="1200" dirty="0">
                <a:ea typeface="ＭＳ Ｐゴシック" charset="-128"/>
              </a:rPr>
              <a:t>, Code</a:t>
            </a:r>
            <a:r>
              <a:rPr lang="de-DE" sz="3300" kern="1200" baseline="-25000" dirty="0">
                <a:ea typeface="ＭＳ Ｐゴシック" charset="-128"/>
              </a:rPr>
              <a:t>X2</a:t>
            </a:r>
            <a:r>
              <a:rPr lang="de-DE" sz="3300" kern="1200" dirty="0">
                <a:ea typeface="ＭＳ Ｐゴシック" charset="-128"/>
              </a:rPr>
              <a:t>...,Code</a:t>
            </a:r>
            <a:r>
              <a:rPr lang="de-DE" sz="3300" kern="1200" baseline="-25000" dirty="0">
                <a:ea typeface="ＭＳ Ｐゴシック" charset="-128"/>
              </a:rPr>
              <a:t>Xn</a:t>
            </a:r>
            <a:r>
              <a:rPr lang="de-DE" sz="3300" kern="1200" dirty="0">
                <a:ea typeface="ＭＳ Ｐゴシック" charset="-128"/>
              </a:rPr>
              <a:t> </a:t>
            </a:r>
            <a:r>
              <a:rPr lang="de-DE" sz="3300" kern="1200" dirty="0">
                <a:ea typeface="ＭＳ Ｐゴシック" charset="-128"/>
                <a:sym typeface="Symbol"/>
              </a:rPr>
              <a:t> Failure</a:t>
            </a:r>
          </a:p>
          <a:p>
            <a:pPr marL="646326" indent="-438443">
              <a:spcBef>
                <a:spcPts val="1429"/>
              </a:spcBef>
              <a:spcAft>
                <a:spcPts val="0"/>
              </a:spcAft>
              <a:buClr>
                <a:schemeClr val="accent3"/>
              </a:buClr>
              <a:defRPr/>
            </a:pPr>
            <a:endParaRPr lang="de-DE" sz="3300" kern="1200" dirty="0">
              <a:ea typeface="ＭＳ Ｐゴシック" charset="-128"/>
              <a:sym typeface="Symbol"/>
            </a:endParaRPr>
          </a:p>
          <a:p>
            <a:pPr marL="646326" indent="-438443">
              <a:spcBef>
                <a:spcPts val="1429"/>
              </a:spcBef>
              <a:spcAft>
                <a:spcPts val="0"/>
              </a:spcAft>
              <a:buClrTx/>
              <a:defRPr/>
            </a:pPr>
            <a:r>
              <a:rPr lang="de-DE" sz="3800" kern="1200" dirty="0">
                <a:ea typeface="ＭＳ Ｐゴシック" charset="-128"/>
                <a:sym typeface="Symbol"/>
              </a:rPr>
              <a:t>Sequences:</a:t>
            </a:r>
          </a:p>
          <a:p>
            <a:pPr marL="1315328" lvl="2" indent="-680342">
              <a:spcBef>
                <a:spcPts val="1429"/>
              </a:spcBef>
              <a:spcAft>
                <a:spcPts val="0"/>
              </a:spcAft>
              <a:buClr>
                <a:schemeClr val="accent3"/>
              </a:buClr>
              <a:buFont typeface="Century Gothic" panose="020B0502020202020204" pitchFamily="34" charset="0"/>
              <a:buChar char="−"/>
              <a:defRPr/>
            </a:pPr>
            <a:r>
              <a:rPr lang="de-DE" sz="3300" kern="1200" dirty="0">
                <a:ea typeface="ＭＳ Ｐゴシック" charset="-128"/>
              </a:rPr>
              <a:t>Code</a:t>
            </a:r>
            <a:r>
              <a:rPr lang="de-DE" sz="3300" kern="1200" baseline="-25000" dirty="0">
                <a:ea typeface="ＭＳ Ｐゴシック" charset="-128"/>
              </a:rPr>
              <a:t>X1</a:t>
            </a:r>
            <a:r>
              <a:rPr lang="de-DE" sz="3300" kern="1200" dirty="0">
                <a:ea typeface="ＭＳ Ｐゴシック" charset="-128"/>
                <a:sym typeface="Wingdings" panose="05000000000000000000" pitchFamily="2" charset="2"/>
              </a:rPr>
              <a:t></a:t>
            </a:r>
            <a:r>
              <a:rPr lang="de-DE" sz="3300" kern="1200" dirty="0">
                <a:ea typeface="ＭＳ Ｐゴシック" charset="-128"/>
              </a:rPr>
              <a:t> Code</a:t>
            </a:r>
            <a:r>
              <a:rPr lang="de-DE" sz="3300" kern="1200" baseline="-25000" dirty="0">
                <a:ea typeface="ＭＳ Ｐゴシック" charset="-128"/>
              </a:rPr>
              <a:t>X2</a:t>
            </a:r>
            <a:r>
              <a:rPr lang="de-DE" sz="3300" kern="1200" dirty="0">
                <a:ea typeface="ＭＳ Ｐゴシック" charset="-128"/>
                <a:sym typeface="Wingdings" panose="05000000000000000000" pitchFamily="2" charset="2"/>
              </a:rPr>
              <a:t>.</a:t>
            </a:r>
            <a:r>
              <a:rPr lang="de-DE" sz="3300" kern="1200" dirty="0">
                <a:ea typeface="ＭＳ Ｐゴシック" charset="-128"/>
              </a:rPr>
              <a:t>..</a:t>
            </a:r>
            <a:r>
              <a:rPr lang="de-DE" sz="3300" kern="1200" dirty="0">
                <a:ea typeface="ＭＳ Ｐゴシック" charset="-128"/>
                <a:sym typeface="Wingdings" panose="05000000000000000000" pitchFamily="2" charset="2"/>
              </a:rPr>
              <a:t></a:t>
            </a:r>
            <a:r>
              <a:rPr lang="de-DE" sz="3300" kern="1200" dirty="0">
                <a:ea typeface="ＭＳ Ｐゴシック" charset="-128"/>
              </a:rPr>
              <a:t>Code</a:t>
            </a:r>
            <a:r>
              <a:rPr lang="de-DE" sz="3300" kern="1200" baseline="-25000" dirty="0">
                <a:ea typeface="ＭＳ Ｐゴシック" charset="-128"/>
              </a:rPr>
              <a:t>Xn</a:t>
            </a:r>
            <a:r>
              <a:rPr lang="de-DE" sz="3300" kern="1200" dirty="0">
                <a:ea typeface="ＭＳ Ｐゴシック" charset="-128"/>
              </a:rPr>
              <a:t> </a:t>
            </a:r>
            <a:r>
              <a:rPr lang="de-DE" sz="3300" kern="1200" dirty="0">
                <a:ea typeface="ＭＳ Ｐゴシック" charset="-128"/>
                <a:sym typeface="Symbol"/>
              </a:rPr>
              <a:t> Failure</a:t>
            </a:r>
          </a:p>
          <a:p>
            <a:pPr marL="646326" indent="-438443">
              <a:spcBef>
                <a:spcPts val="1429"/>
              </a:spcBef>
              <a:spcAft>
                <a:spcPts val="0"/>
              </a:spcAft>
              <a:buClr>
                <a:schemeClr val="accent3"/>
              </a:buClr>
              <a:defRPr/>
            </a:pPr>
            <a:endParaRPr lang="de-DE" sz="3300" kern="1200" dirty="0">
              <a:ea typeface="ＭＳ Ｐゴシック" charset="-128"/>
              <a:sym typeface="Symbol"/>
            </a:endParaRPr>
          </a:p>
          <a:p>
            <a:pPr marL="646326" indent="-438443">
              <a:spcBef>
                <a:spcPts val="1429"/>
              </a:spcBef>
              <a:spcAft>
                <a:spcPts val="0"/>
              </a:spcAft>
              <a:buClrTx/>
              <a:defRPr/>
            </a:pPr>
            <a:r>
              <a:rPr lang="de-DE" sz="3800" kern="1200" dirty="0">
                <a:ea typeface="ＭＳ Ｐゴシック" charset="-128"/>
                <a:sym typeface="Symbol"/>
              </a:rPr>
              <a:t>With Support and Confidence measures</a:t>
            </a:r>
          </a:p>
          <a:p>
            <a:pPr marL="1315328" lvl="2" indent="-680342">
              <a:spcBef>
                <a:spcPts val="1429"/>
              </a:spcBef>
              <a:spcAft>
                <a:spcPts val="0"/>
              </a:spcAft>
              <a:buClrTx/>
              <a:buFont typeface="Arial" panose="020B0604020202020204" pitchFamily="34" charset="0"/>
              <a:buChar char="−"/>
              <a:defRPr/>
            </a:pPr>
            <a:r>
              <a:rPr lang="de-DE" sz="3300" kern="1200" dirty="0">
                <a:ea typeface="ＭＳ Ｐゴシック" charset="-128"/>
                <a:sym typeface="Symbol"/>
              </a:rPr>
              <a:t>Support = how often does rule appear in data set</a:t>
            </a:r>
          </a:p>
          <a:p>
            <a:pPr marL="1315328" lvl="2" indent="-680342">
              <a:spcBef>
                <a:spcPts val="1429"/>
              </a:spcBef>
              <a:spcAft>
                <a:spcPts val="0"/>
              </a:spcAft>
              <a:buClrTx/>
              <a:buFont typeface="Arial" panose="020B0604020202020204" pitchFamily="34" charset="0"/>
              <a:buChar char="−"/>
              <a:defRPr/>
            </a:pPr>
            <a:r>
              <a:rPr lang="de-DE" sz="3300" kern="1200" dirty="0">
                <a:ea typeface="ＭＳ Ｐゴシック" charset="-128"/>
                <a:sym typeface="Symbol"/>
              </a:rPr>
              <a:t>Confidence = </a:t>
            </a:r>
            <a:r>
              <a:rPr lang="en-US" sz="3300" kern="1200" dirty="0">
                <a:ea typeface="ＭＳ Ｐゴシック" charset="-128"/>
              </a:rPr>
              <a:t>the percentage of trains for which diagnostic codes on left side appear that have a failure the next month</a:t>
            </a:r>
          </a:p>
          <a:p>
            <a:pPr marL="1492974" lvl="1" indent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None/>
              <a:tabLst>
                <a:tab pos="1062091" algn="l"/>
              </a:tabLst>
              <a:defRPr/>
            </a:pPr>
            <a:r>
              <a:rPr lang="de-DE" sz="3300" kern="1200" dirty="0">
                <a:ea typeface="ＭＳ Ｐゴシック" charset="-128"/>
                <a:sym typeface="Wingdings" panose="05000000000000000000" pitchFamily="2" charset="2"/>
              </a:rPr>
              <a:t> Failure probability given Diagnostic pattern</a:t>
            </a:r>
            <a:endParaRPr lang="en-US" sz="3300" kern="1200" dirty="0">
              <a:ea typeface="ＭＳ Ｐゴシック" charset="-128"/>
            </a:endParaRPr>
          </a:p>
          <a:p>
            <a:pPr>
              <a:lnSpc>
                <a:spcPct val="100000"/>
              </a:lnSpc>
            </a:pPr>
            <a:endParaRPr lang="de-DE" sz="4300" dirty="0"/>
          </a:p>
          <a:p>
            <a:pPr>
              <a:lnSpc>
                <a:spcPct val="100000"/>
              </a:lnSpc>
            </a:pPr>
            <a:endParaRPr lang="en-US" sz="4300" dirty="0"/>
          </a:p>
          <a:p>
            <a:pPr>
              <a:lnSpc>
                <a:spcPct val="100000"/>
              </a:lnSpc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ssociation/Sequence Analy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57576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439332" y="2825748"/>
            <a:ext cx="21890568" cy="9792972"/>
          </a:xfrm>
        </p:spPr>
        <p:txBody>
          <a:bodyPr/>
          <a:lstStyle/>
          <a:p>
            <a:pPr marL="253237" indent="-427105">
              <a:spcBef>
                <a:spcPts val="1429"/>
              </a:spcBef>
              <a:spcAft>
                <a:spcPts val="0"/>
              </a:spcAft>
              <a:buClrTx/>
              <a:defRPr/>
            </a:pPr>
            <a:endParaRPr lang="de-DE" sz="3800" kern="1200" dirty="0" smtClean="0">
              <a:ea typeface="ＭＳ Ｐゴシック" charset="-128"/>
            </a:endParaRPr>
          </a:p>
          <a:p>
            <a:pPr marL="253237" indent="-427105">
              <a:spcBef>
                <a:spcPts val="1429"/>
              </a:spcBef>
              <a:spcAft>
                <a:spcPts val="0"/>
              </a:spcAft>
              <a:buClrTx/>
              <a:defRPr/>
            </a:pPr>
            <a:r>
              <a:rPr lang="de-DE" sz="3800" kern="1200" dirty="0" smtClean="0">
                <a:ea typeface="ＭＳ Ｐゴシック" charset="-128"/>
              </a:rPr>
              <a:t>Associations </a:t>
            </a:r>
            <a:r>
              <a:rPr lang="de-DE" sz="3800" kern="1200" dirty="0">
                <a:ea typeface="ＭＳ Ｐゴシック" charset="-128"/>
              </a:rPr>
              <a:t>(3 to 1): ITEM1, ITEM2, ITEM3 </a:t>
            </a:r>
            <a:r>
              <a:rPr lang="de-DE" sz="3800" kern="1200" dirty="0">
                <a:ea typeface="ＭＳ Ｐゴシック" charset="-128"/>
                <a:sym typeface="Symbol"/>
              </a:rPr>
              <a:t></a:t>
            </a:r>
            <a:r>
              <a:rPr lang="de-DE" sz="3800" kern="1200" dirty="0">
                <a:ea typeface="ＭＳ Ｐゴシック" charset="-128"/>
                <a:sym typeface="Wingdings" panose="05000000000000000000" pitchFamily="2" charset="2"/>
              </a:rPr>
              <a:t> ITEM4</a:t>
            </a:r>
            <a:endParaRPr lang="de-DE" sz="3800" kern="1200" dirty="0">
              <a:ea typeface="ＭＳ Ｐゴシック" charset="-128"/>
            </a:endParaRPr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pPr marL="0" indent="0">
              <a:buNone/>
            </a:pPr>
            <a:endParaRPr lang="de-DE" sz="4300" kern="1200" dirty="0">
              <a:sym typeface="Gill Sans" pitchFamily="-84" charset="0"/>
            </a:endParaRPr>
          </a:p>
          <a:p>
            <a:pPr marL="680340" lvl="2" indent="-427105">
              <a:spcBef>
                <a:spcPts val="1429"/>
              </a:spcBef>
              <a:spcAft>
                <a:spcPts val="0"/>
              </a:spcAft>
              <a:buClrTx/>
              <a:buFont typeface="Wingdings" pitchFamily="2" charset="2"/>
              <a:buChar char="§"/>
              <a:defRPr/>
            </a:pPr>
            <a:r>
              <a:rPr lang="de-DE" sz="3800" kern="1200" dirty="0">
                <a:ea typeface="ＭＳ Ｐゴシック" charset="-128"/>
              </a:rPr>
              <a:t>Lift: </a:t>
            </a:r>
            <a:r>
              <a:rPr lang="en-US" sz="3800" kern="1200" dirty="0">
                <a:ea typeface="ＭＳ Ｐゴシック" charset="-128"/>
              </a:rPr>
              <a:t>measures how much the probability of R is increased by the presence of L in an item group.</a:t>
            </a:r>
          </a:p>
          <a:p>
            <a:pPr marL="680340" lvl="2" indent="-427105">
              <a:spcBef>
                <a:spcPts val="1429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3800" kern="1200" dirty="0">
                <a:ea typeface="ＭＳ Ｐゴシック" charset="-128"/>
              </a:rPr>
              <a:t>Z-score: measures how statistically different the actual result is from the expected result</a:t>
            </a:r>
          </a:p>
          <a:p>
            <a:pPr marL="253235" lvl="2" indent="0">
              <a:spcBef>
                <a:spcPts val="1429"/>
              </a:spcBef>
              <a:spcAft>
                <a:spcPts val="0"/>
              </a:spcAft>
              <a:buClr>
                <a:schemeClr val="accent3"/>
              </a:buClr>
              <a:buNone/>
              <a:defRPr/>
            </a:pPr>
            <a:endParaRPr lang="en-US" sz="2900" kern="1200" dirty="0">
              <a:ea typeface="ＭＳ Ｐゴシック" charset="-128"/>
            </a:endParaRPr>
          </a:p>
          <a:p>
            <a:pPr marL="680340" lvl="2" indent="-427105">
              <a:spcBef>
                <a:spcPts val="1429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/>
            </a:pPr>
            <a:endParaRPr lang="en-US" sz="2900" kern="1200" dirty="0">
              <a:ea typeface="ＭＳ Ｐゴシック" charset="-128"/>
            </a:endParaRPr>
          </a:p>
          <a:p>
            <a:pPr marL="680340" lvl="2" indent="-427105">
              <a:spcBef>
                <a:spcPts val="1429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/>
            </a:pPr>
            <a:endParaRPr lang="en-US" sz="2900" kern="1200" dirty="0">
              <a:ea typeface="ＭＳ Ｐゴシック" charset="-128"/>
            </a:endParaRPr>
          </a:p>
          <a:p>
            <a:pPr marL="680340" lvl="2" indent="-427105">
              <a:spcBef>
                <a:spcPts val="1429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/>
            </a:pPr>
            <a:endParaRPr lang="en-US" sz="2900" kern="1200" dirty="0">
              <a:ea typeface="ＭＳ Ｐゴシック" charset="-128"/>
            </a:endParaRPr>
          </a:p>
          <a:p>
            <a:pPr marL="680340" lvl="2" indent="-427105">
              <a:spcBef>
                <a:spcPts val="1429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/>
            </a:pPr>
            <a:endParaRPr lang="en-US" sz="2900" kern="1200" dirty="0">
              <a:ea typeface="ＭＳ Ｐゴシック" charset="-128"/>
            </a:endParaRPr>
          </a:p>
          <a:p>
            <a:pPr marL="680340" lvl="2" indent="-427105">
              <a:spcBef>
                <a:spcPts val="1429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/>
            </a:pPr>
            <a:endParaRPr lang="de-DE" sz="3300" b="1" kern="1200" dirty="0">
              <a:ea typeface="ＭＳ Ｐゴシック" charset="-128"/>
              <a:sym typeface="Symbol"/>
            </a:endParaRPr>
          </a:p>
          <a:p>
            <a:pPr marL="680340" lvl="2" indent="-427105">
              <a:spcBef>
                <a:spcPts val="1429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/>
            </a:pPr>
            <a:endParaRPr lang="en-US" sz="2900" kern="1200" dirty="0">
              <a:ea typeface="ＭＳ Ｐゴシック" charset="-128"/>
            </a:endParaRPr>
          </a:p>
          <a:p>
            <a:pPr marL="680340" lvl="2" indent="-427105">
              <a:spcBef>
                <a:spcPts val="1429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/>
            </a:pPr>
            <a:endParaRPr lang="de-DE" sz="2900" kern="1200" dirty="0">
              <a:ea typeface="ＭＳ Ｐゴシック" charset="-128"/>
            </a:endParaRPr>
          </a:p>
          <a:p>
            <a:pPr marL="253237" indent="-427105">
              <a:spcBef>
                <a:spcPts val="1429"/>
              </a:spcBef>
              <a:spcAft>
                <a:spcPts val="0"/>
              </a:spcAft>
              <a:buClr>
                <a:schemeClr val="accent3"/>
              </a:buClr>
              <a:defRPr/>
            </a:pPr>
            <a:endParaRPr lang="en-US" sz="3300" kern="1200" dirty="0">
              <a:ea typeface="ＭＳ Ｐゴシック" charset="-12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mplary Results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4078389"/>
              </p:ext>
            </p:extLst>
          </p:nvPr>
        </p:nvGraphicFramePr>
        <p:xfrm>
          <a:off x="2049535" y="4667250"/>
          <a:ext cx="17828433" cy="35623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42533"/>
                <a:gridCol w="1642533"/>
                <a:gridCol w="1642533"/>
                <a:gridCol w="1531088"/>
                <a:gridCol w="2041451"/>
                <a:gridCol w="2069805"/>
                <a:gridCol w="1842976"/>
                <a:gridCol w="2492933"/>
                <a:gridCol w="1256813"/>
                <a:gridCol w="1665768"/>
              </a:tblGrid>
              <a:tr h="323850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 smtClean="0">
                          <a:effectLst/>
                        </a:rPr>
                        <a:t>ITEM1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 smtClean="0">
                          <a:effectLst/>
                        </a:rPr>
                        <a:t>ITEM2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 smtClean="0">
                          <a:effectLst/>
                        </a:rPr>
                        <a:t>ITEM3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 smtClean="0">
                          <a:effectLst/>
                        </a:rPr>
                        <a:t>ITEM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LSUPPORT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RSUPPORT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SUPPORT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CONFIDENC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LIFT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ZSCOR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3850"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5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3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Failur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0.031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0.366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0.0201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0.6316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1.72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2.71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23850"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3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70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8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Failur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0394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3668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0226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0.5745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1.57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2.37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</a:tr>
              <a:tr h="323850"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3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70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Failur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0452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3668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0251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5556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1.51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2.31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</a:tr>
              <a:tr h="323850"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70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8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Failur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0410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3668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0226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5510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1.50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2.14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</a:tr>
              <a:tr h="323850"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3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8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Failur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0662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3668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0343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5190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1.41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2.26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</a:tr>
              <a:tr h="323850"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13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3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Failur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0.0427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0.366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0209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4902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1.34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1.47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</a:tr>
              <a:tr h="323850"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3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19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Failur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1089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0.366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0.0461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4231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1.15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1.08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</a:tr>
              <a:tr h="323850"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3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7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Failur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1089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3668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0.044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4077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1.11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78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</a:tr>
              <a:tr h="323850"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7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19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Failur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0838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3668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0335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4000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1.09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56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</a:tr>
              <a:tr h="323850"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3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7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 smtClean="0">
                          <a:effectLst/>
                        </a:rPr>
                        <a:t>dcode19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Failur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0838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3668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0327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0.3900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1.06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0.39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5400" marR="25400" marT="19050" marB="0" anchor="b"/>
                </a:tc>
              </a:tr>
            </a:tbl>
          </a:graphicData>
        </a:graphic>
      </p:graphicFrame>
      <p:sp>
        <p:nvSpPr>
          <p:cNvPr id="7" name="Text Placeholder 2"/>
          <p:cNvSpPr txBox="1">
            <a:spLocks/>
          </p:cNvSpPr>
          <p:nvPr/>
        </p:nvSpPr>
        <p:spPr>
          <a:xfrm>
            <a:off x="1219200" y="1875748"/>
            <a:ext cx="21945600" cy="941796"/>
          </a:xfrm>
          <a:prstGeom prst="rect">
            <a:avLst/>
          </a:prstGeom>
        </p:spPr>
        <p:txBody>
          <a:bodyPr lIns="217709" tIns="108855" rIns="217709" bIns="108855"/>
          <a:lstStyle>
            <a:lvl1pPr marL="228600" indent="-22860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1450" algn="l" defTabSz="914400" rtl="0" eaLnBrk="1" latinLnBrk="0" hangingPunct="1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18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00" indent="-22860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900" b="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altLang="en-US" sz="4300" dirty="0"/>
              <a:t>Association</a:t>
            </a:r>
            <a:r>
              <a:rPr lang="de-DE" altLang="en-US" dirty="0" smtClean="0">
                <a:ea typeface="ヒラギノ角ゴ Pro W3" pitchFamily="-108" charset="-128"/>
                <a:cs typeface="Geneva"/>
              </a:rPr>
              <a:t> </a:t>
            </a:r>
            <a:r>
              <a:rPr lang="de-DE" altLang="en-US" sz="4300" dirty="0"/>
              <a:t>Analysis</a:t>
            </a:r>
            <a:endParaRPr lang="en-US" sz="4300" dirty="0"/>
          </a:p>
        </p:txBody>
      </p:sp>
    </p:spTree>
    <p:extLst>
      <p:ext uri="{BB962C8B-B14F-4D97-AF65-F5344CB8AC3E}">
        <p14:creationId xmlns:p14="http://schemas.microsoft.com/office/powerpoint/2010/main" val="3281622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de-DE" altLang="en-US" dirty="0">
                <a:ea typeface="ヒラギノ角ゴ Pro W3" pitchFamily="-108" charset="-128"/>
                <a:cs typeface="Geneva"/>
              </a:rPr>
              <a:t>Bottom AND top line impact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en-US" dirty="0">
                <a:ea typeface="ヒラギノ角ゴ Pro W3" pitchFamily="-108" charset="-128"/>
                <a:cs typeface="Geneva"/>
              </a:rPr>
              <a:t>Powerful Predictive Modelling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8794651" y="12874726"/>
            <a:ext cx="6794699" cy="283162"/>
          </a:xfrm>
        </p:spPr>
        <p:txBody>
          <a:bodyPr/>
          <a:lstStyle/>
          <a:p>
            <a:endParaRPr lang="en-US"/>
          </a:p>
        </p:txBody>
      </p:sp>
      <p:sp>
        <p:nvSpPr>
          <p:cNvPr id="7" name="Text Placeholder 1"/>
          <p:cNvSpPr txBox="1">
            <a:spLocks/>
          </p:cNvSpPr>
          <p:nvPr/>
        </p:nvSpPr>
        <p:spPr bwMode="gray">
          <a:xfrm>
            <a:off x="7467600" y="2891916"/>
            <a:ext cx="16916400" cy="945248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628650" indent="-171450" algn="l" defTabSz="914400" rtl="0" eaLnBrk="1" latinLnBrk="0" hangingPunct="1">
              <a:lnSpc>
                <a:spcPct val="85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6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00"/>
              </a:spcAft>
              <a:buFontTx/>
              <a:buNone/>
              <a:defRPr sz="16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00"/>
              </a:spcAft>
              <a:buFontTx/>
              <a:buNone/>
              <a:defRPr sz="16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00" indent="-22860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900" b="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0883" indent="-430883">
              <a:lnSpc>
                <a:spcPts val="4762"/>
              </a:lnSpc>
            </a:pPr>
            <a:endParaRPr lang="en-US" sz="3600" dirty="0" smtClean="0"/>
          </a:p>
          <a:p>
            <a:pPr marL="571500" indent="-571500">
              <a:lnSpc>
                <a:spcPts val="4762"/>
              </a:lnSpc>
              <a:buFont typeface="Arial" panose="020B0604020202020204" pitchFamily="34" charset="0"/>
              <a:buChar char="•"/>
            </a:pPr>
            <a:r>
              <a:rPr lang="en-US" sz="3600" dirty="0" smtClean="0"/>
              <a:t>Increased </a:t>
            </a:r>
            <a:r>
              <a:rPr lang="en-US" sz="3600" dirty="0"/>
              <a:t>uptime through significant reduction of unplanned downtime</a:t>
            </a:r>
          </a:p>
          <a:p>
            <a:pPr marL="571500" indent="-571500">
              <a:lnSpc>
                <a:spcPts val="4762"/>
              </a:lnSpc>
              <a:buFont typeface="Arial" panose="020B0604020202020204" pitchFamily="34" charset="0"/>
              <a:buChar char="•"/>
            </a:pPr>
            <a:r>
              <a:rPr lang="en-US" sz="3600" dirty="0"/>
              <a:t>Extension/flexibility of maintenance intervals</a:t>
            </a:r>
          </a:p>
          <a:p>
            <a:pPr marL="571500" indent="-571500">
              <a:lnSpc>
                <a:spcPts val="4762"/>
              </a:lnSpc>
              <a:buFont typeface="Arial" panose="020B0604020202020204" pitchFamily="34" charset="0"/>
              <a:buChar char="•"/>
            </a:pPr>
            <a:r>
              <a:rPr lang="de-DE" altLang="en-US" sz="3600" dirty="0"/>
              <a:t>Reduced labour: quicker root cause analysis, improved first time fix rate etc </a:t>
            </a:r>
          </a:p>
          <a:p>
            <a:pPr marL="430883" indent="-430883">
              <a:lnSpc>
                <a:spcPts val="4762"/>
              </a:lnSpc>
              <a:spcBef>
                <a:spcPts val="1429"/>
              </a:spcBef>
            </a:pPr>
            <a:endParaRPr lang="de-DE" altLang="en-US" sz="3600" dirty="0" smtClean="0"/>
          </a:p>
          <a:p>
            <a:pPr marL="430883" indent="-430883">
              <a:lnSpc>
                <a:spcPts val="4762"/>
              </a:lnSpc>
              <a:spcBef>
                <a:spcPts val="1429"/>
              </a:spcBef>
            </a:pPr>
            <a:endParaRPr lang="de-DE" altLang="en-US" sz="2400" dirty="0" smtClean="0"/>
          </a:p>
          <a:p>
            <a:pPr marL="571500" indent="-571500">
              <a:lnSpc>
                <a:spcPts val="4762"/>
              </a:lnSpc>
              <a:buFont typeface="Arial" panose="020B0604020202020204" pitchFamily="34" charset="0"/>
              <a:buChar char="•"/>
            </a:pPr>
            <a:r>
              <a:rPr lang="de-DE" altLang="en-US" sz="3600" dirty="0" smtClean="0"/>
              <a:t>More </a:t>
            </a:r>
            <a:r>
              <a:rPr lang="de-DE" altLang="en-US" sz="3600" dirty="0"/>
              <a:t>mileage with less cars, increased utilisation of assets</a:t>
            </a:r>
          </a:p>
          <a:p>
            <a:pPr marL="571500" indent="-571500">
              <a:lnSpc>
                <a:spcPts val="4762"/>
              </a:lnSpc>
              <a:buFont typeface="Arial" panose="020B0604020202020204" pitchFamily="34" charset="0"/>
              <a:buChar char="•"/>
            </a:pPr>
            <a:r>
              <a:rPr lang="de-DE" altLang="en-US" sz="3600" dirty="0"/>
              <a:t>Improved plannability allows streamlined SCM </a:t>
            </a:r>
          </a:p>
          <a:p>
            <a:pPr marL="571500" indent="-571500">
              <a:lnSpc>
                <a:spcPts val="4762"/>
              </a:lnSpc>
              <a:buFont typeface="Arial" panose="020B0604020202020204" pitchFamily="34" charset="0"/>
              <a:buChar char="•"/>
            </a:pPr>
            <a:r>
              <a:rPr lang="de-DE" altLang="en-US" sz="3600" dirty="0"/>
              <a:t>Maintenance can be performed at the least costly location, with the right </a:t>
            </a:r>
            <a:r>
              <a:rPr lang="de-DE" altLang="en-US" sz="3600" dirty="0" smtClean="0"/>
              <a:t>resources</a:t>
            </a:r>
          </a:p>
          <a:p>
            <a:pPr marL="571500" indent="-571500">
              <a:lnSpc>
                <a:spcPts val="4762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de-DE" altLang="en-US" sz="3600" dirty="0" smtClean="0"/>
              <a:t>Provide </a:t>
            </a:r>
            <a:r>
              <a:rPr lang="de-DE" altLang="en-US" sz="3600" dirty="0"/>
              <a:t>uptime guarantees</a:t>
            </a:r>
            <a:r>
              <a:rPr lang="en-US" altLang="en-US" sz="3600" dirty="0"/>
              <a:t>, performance based contracting</a:t>
            </a:r>
          </a:p>
          <a:p>
            <a:pPr marL="571500" indent="-571500">
              <a:lnSpc>
                <a:spcPts val="4762"/>
              </a:lnSpc>
              <a:buFont typeface="Arial" panose="020B0604020202020204" pitchFamily="34" charset="0"/>
              <a:buChar char="•"/>
            </a:pPr>
            <a:r>
              <a:rPr lang="de-DE" altLang="en-US" sz="3600" dirty="0"/>
              <a:t>Increased service contract capture rate, higher portion of recurring revenues of total service revenue</a:t>
            </a:r>
            <a:endParaRPr lang="en-US" altLang="en-US" sz="3600" dirty="0"/>
          </a:p>
          <a:p>
            <a:pPr marL="571500" indent="-571500">
              <a:lnSpc>
                <a:spcPts val="4762"/>
              </a:lnSpc>
              <a:buFont typeface="Arial" panose="020B0604020202020204" pitchFamily="34" charset="0"/>
              <a:buChar char="•"/>
            </a:pPr>
            <a:r>
              <a:rPr lang="de-DE" altLang="en-US" sz="3600" dirty="0"/>
              <a:t>Service as key differentiator</a:t>
            </a:r>
            <a:endParaRPr lang="en-US" altLang="en-US" sz="3600" dirty="0"/>
          </a:p>
          <a:p>
            <a:pPr marL="430883" indent="-430883">
              <a:lnSpc>
                <a:spcPts val="4762"/>
              </a:lnSpc>
            </a:pPr>
            <a:endParaRPr lang="de-DE" altLang="en-US" sz="3800" dirty="0"/>
          </a:p>
        </p:txBody>
      </p:sp>
      <p:sp>
        <p:nvSpPr>
          <p:cNvPr id="8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2807252"/>
            <a:ext cx="5571067" cy="95371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txBody>
          <a:bodyPr lIns="217709" tIns="108855" rIns="217709" bIns="108855"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15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lvl="1" eaLnBrk="1" hangingPunct="1">
              <a:spcBef>
                <a:spcPct val="40000"/>
              </a:spcBef>
            </a:pPr>
            <a:r>
              <a:rPr lang="en-GB" altLang="en-US" sz="4300" dirty="0">
                <a:solidFill>
                  <a:schemeClr val="bg1"/>
                </a:solidFill>
                <a:latin typeface="Arial"/>
                <a:ea typeface="ヒラギノ角ゴ Pro W3" charset="0"/>
                <a:cs typeface="Arial"/>
              </a:rPr>
              <a:t>Value creation</a:t>
            </a:r>
          </a:p>
        </p:txBody>
      </p:sp>
      <p:sp>
        <p:nvSpPr>
          <p:cNvPr id="9" name="AutoShap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18166" y="3675086"/>
            <a:ext cx="5757333" cy="1435098"/>
          </a:xfrm>
          <a:prstGeom prst="homePlate">
            <a:avLst>
              <a:gd name="adj" fmla="val 32747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14281" tIns="108855" rIns="217709" bIns="108855" anchor="ctr"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15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lvl="1" eaLnBrk="1" hangingPunct="1">
              <a:spcBef>
                <a:spcPct val="40000"/>
              </a:spcBef>
            </a:pPr>
            <a:r>
              <a:rPr lang="en-GB" altLang="en-US" sz="4300" dirty="0">
                <a:latin typeface="Arial"/>
                <a:ea typeface="ヒラギノ角ゴ Pro W3" charset="0"/>
                <a:cs typeface="Arial"/>
              </a:rPr>
              <a:t>Prediction enables</a:t>
            </a:r>
          </a:p>
        </p:txBody>
      </p:sp>
      <p:sp>
        <p:nvSpPr>
          <p:cNvPr id="10" name="AutoShape 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18166" y="7142184"/>
            <a:ext cx="5757333" cy="1439334"/>
          </a:xfrm>
          <a:prstGeom prst="homePlate">
            <a:avLst>
              <a:gd name="adj" fmla="val 32651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14281" tIns="108855" rIns="217709" bIns="108855" anchor="ctr"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15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lvl="1" eaLnBrk="1" hangingPunct="1">
              <a:spcBef>
                <a:spcPct val="40000"/>
              </a:spcBef>
            </a:pPr>
            <a:r>
              <a:rPr lang="en-GB" altLang="en-US" sz="4300" dirty="0">
                <a:latin typeface="Arial"/>
                <a:ea typeface="ヒラギノ角ゴ Pro W3" charset="0"/>
                <a:cs typeface="Arial"/>
              </a:rPr>
              <a:t>Cost reduction through</a:t>
            </a:r>
          </a:p>
        </p:txBody>
      </p:sp>
      <p:sp>
        <p:nvSpPr>
          <p:cNvPr id="11" name="AutoShape 1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18166" y="10054718"/>
            <a:ext cx="5757333" cy="1439334"/>
          </a:xfrm>
          <a:prstGeom prst="homePlate">
            <a:avLst>
              <a:gd name="adj" fmla="val 32651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14281" tIns="108855" rIns="217709" bIns="108855" anchor="ctr"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15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lvl="1" eaLnBrk="1" hangingPunct="1">
              <a:spcBef>
                <a:spcPct val="40000"/>
              </a:spcBef>
            </a:pPr>
            <a:r>
              <a:rPr lang="en-GB" altLang="en-US" sz="4300" dirty="0">
                <a:latin typeface="Arial"/>
                <a:ea typeface="ヒラギノ角ゴ Pro W3" charset="0"/>
                <a:cs typeface="Arial"/>
              </a:rPr>
              <a:t>Increased revenue opportunities</a:t>
            </a:r>
          </a:p>
        </p:txBody>
      </p:sp>
    </p:spTree>
    <p:extLst>
      <p:ext uri="{BB962C8B-B14F-4D97-AF65-F5344CB8AC3E}">
        <p14:creationId xmlns:p14="http://schemas.microsoft.com/office/powerpoint/2010/main" val="338643135"/>
      </p:ext>
    </p:extLst>
  </p:cSld>
  <p:clrMapOvr>
    <a:masterClrMapping/>
  </p:clrMapOvr>
  <p:transition xmlns:p14="http://schemas.microsoft.com/office/powerpoint/2010/main"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ntent Placeholder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697200" y="0"/>
            <a:ext cx="8686800" cy="12255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Internet of Trains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371600" y="2897187"/>
            <a:ext cx="12801600" cy="7921625"/>
          </a:xfrm>
        </p:spPr>
        <p:txBody>
          <a:bodyPr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de-DE" dirty="0" smtClean="0"/>
              <a:t>Introduction – challenges in rail transportation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de-DE" dirty="0" smtClean="0"/>
              <a:t>Digiltilization and the advent of mobility data services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de-DE" dirty="0" smtClean="0"/>
              <a:t>Use Case Example: predictive maintenance for regional trains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de-DE" dirty="0" smtClean="0"/>
              <a:t>Questions and Feedback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449728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ank you very much!</a:t>
            </a:r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gray">
          <a:xfrm>
            <a:off x="6966592" y="5676900"/>
            <a:ext cx="10450816" cy="2362200"/>
            <a:chOff x="1728" y="1805"/>
            <a:chExt cx="2305" cy="521"/>
          </a:xfrm>
          <a:solidFill>
            <a:srgbClr val="EC881D"/>
          </a:solidFill>
        </p:grpSpPr>
        <p:sp>
          <p:nvSpPr>
            <p:cNvPr id="10" name="Freeform 9"/>
            <p:cNvSpPr>
              <a:spLocks noEditPoints="1"/>
            </p:cNvSpPr>
            <p:nvPr/>
          </p:nvSpPr>
          <p:spPr bwMode="gray">
            <a:xfrm>
              <a:off x="1728" y="1805"/>
              <a:ext cx="2231" cy="521"/>
            </a:xfrm>
            <a:custGeom>
              <a:avLst/>
              <a:gdLst>
                <a:gd name="T0" fmla="*/ 660 w 3745"/>
                <a:gd name="T1" fmla="*/ 0 h 863"/>
                <a:gd name="T2" fmla="*/ 0 w 3745"/>
                <a:gd name="T3" fmla="*/ 73 h 863"/>
                <a:gd name="T4" fmla="*/ 292 w 3745"/>
                <a:gd name="T5" fmla="*/ 804 h 863"/>
                <a:gd name="T6" fmla="*/ 399 w 3745"/>
                <a:gd name="T7" fmla="*/ 863 h 863"/>
                <a:gd name="T8" fmla="*/ 637 w 3745"/>
                <a:gd name="T9" fmla="*/ 73 h 863"/>
                <a:gd name="T10" fmla="*/ 660 w 3745"/>
                <a:gd name="T11" fmla="*/ 0 h 863"/>
                <a:gd name="T12" fmla="*/ 2673 w 3745"/>
                <a:gd name="T13" fmla="*/ 181 h 863"/>
                <a:gd name="T14" fmla="*/ 2408 w 3745"/>
                <a:gd name="T15" fmla="*/ 768 h 863"/>
                <a:gd name="T16" fmla="*/ 2522 w 3745"/>
                <a:gd name="T17" fmla="*/ 729 h 863"/>
                <a:gd name="T18" fmla="*/ 2698 w 3745"/>
                <a:gd name="T19" fmla="*/ 596 h 863"/>
                <a:gd name="T20" fmla="*/ 2590 w 3745"/>
                <a:gd name="T21" fmla="*/ 533 h 863"/>
                <a:gd name="T22" fmla="*/ 2812 w 3745"/>
                <a:gd name="T23" fmla="*/ 729 h 863"/>
                <a:gd name="T24" fmla="*/ 2941 w 3745"/>
                <a:gd name="T25" fmla="*/ 768 h 863"/>
                <a:gd name="T26" fmla="*/ 2673 w 3745"/>
                <a:gd name="T27" fmla="*/ 181 h 863"/>
                <a:gd name="T28" fmla="*/ 3529 w 3745"/>
                <a:gd name="T29" fmla="*/ 203 h 863"/>
                <a:gd name="T30" fmla="*/ 3425 w 3745"/>
                <a:gd name="T31" fmla="*/ 203 h 863"/>
                <a:gd name="T32" fmla="*/ 3252 w 3745"/>
                <a:gd name="T33" fmla="*/ 768 h 863"/>
                <a:gd name="T34" fmla="*/ 3374 w 3745"/>
                <a:gd name="T35" fmla="*/ 596 h 863"/>
                <a:gd name="T36" fmla="*/ 3483 w 3745"/>
                <a:gd name="T37" fmla="*/ 533 h 863"/>
                <a:gd name="T38" fmla="*/ 3473 w 3745"/>
                <a:gd name="T39" fmla="*/ 310 h 863"/>
                <a:gd name="T40" fmla="*/ 3695 w 3745"/>
                <a:gd name="T41" fmla="*/ 768 h 863"/>
                <a:gd name="T42" fmla="*/ 3529 w 3745"/>
                <a:gd name="T43" fmla="*/ 203 h 863"/>
                <a:gd name="T44" fmla="*/ 1655 w 3745"/>
                <a:gd name="T45" fmla="*/ 181 h 863"/>
                <a:gd name="T46" fmla="*/ 1603 w 3745"/>
                <a:gd name="T47" fmla="*/ 203 h 863"/>
                <a:gd name="T48" fmla="*/ 1247 w 3745"/>
                <a:gd name="T49" fmla="*/ 515 h 863"/>
                <a:gd name="T50" fmla="*/ 1374 w 3745"/>
                <a:gd name="T51" fmla="*/ 336 h 863"/>
                <a:gd name="T52" fmla="*/ 969 w 3745"/>
                <a:gd name="T53" fmla="*/ 189 h 863"/>
                <a:gd name="T54" fmla="*/ 737 w 3745"/>
                <a:gd name="T55" fmla="*/ 704 h 863"/>
                <a:gd name="T56" fmla="*/ 625 w 3745"/>
                <a:gd name="T57" fmla="*/ 488 h 863"/>
                <a:gd name="T58" fmla="*/ 816 w 3745"/>
                <a:gd name="T59" fmla="*/ 424 h 863"/>
                <a:gd name="T60" fmla="*/ 625 w 3745"/>
                <a:gd name="T61" fmla="*/ 253 h 863"/>
                <a:gd name="T62" fmla="*/ 897 w 3745"/>
                <a:gd name="T63" fmla="*/ 189 h 863"/>
                <a:gd name="T64" fmla="*/ 520 w 3745"/>
                <a:gd name="T65" fmla="*/ 590 h 863"/>
                <a:gd name="T66" fmla="*/ 1074 w 3745"/>
                <a:gd name="T67" fmla="*/ 766 h 863"/>
                <a:gd name="T68" fmla="*/ 1149 w 3745"/>
                <a:gd name="T69" fmla="*/ 253 h 863"/>
                <a:gd name="T70" fmla="*/ 1271 w 3745"/>
                <a:gd name="T71" fmla="*/ 387 h 863"/>
                <a:gd name="T72" fmla="*/ 1110 w 3745"/>
                <a:gd name="T73" fmla="*/ 461 h 863"/>
                <a:gd name="T74" fmla="*/ 1338 w 3745"/>
                <a:gd name="T75" fmla="*/ 768 h 863"/>
                <a:gd name="T76" fmla="*/ 1505 w 3745"/>
                <a:gd name="T77" fmla="*/ 729 h 863"/>
                <a:gd name="T78" fmla="*/ 1680 w 3745"/>
                <a:gd name="T79" fmla="*/ 596 h 863"/>
                <a:gd name="T80" fmla="*/ 1573 w 3745"/>
                <a:gd name="T81" fmla="*/ 533 h 863"/>
                <a:gd name="T82" fmla="*/ 1795 w 3745"/>
                <a:gd name="T83" fmla="*/ 729 h 863"/>
                <a:gd name="T84" fmla="*/ 1923 w 3745"/>
                <a:gd name="T85" fmla="*/ 768 h 863"/>
                <a:gd name="T86" fmla="*/ 1655 w 3745"/>
                <a:gd name="T87" fmla="*/ 181 h 863"/>
                <a:gd name="T88" fmla="*/ 2304 w 3745"/>
                <a:gd name="T89" fmla="*/ 530 h 863"/>
                <a:gd name="T90" fmla="*/ 2068 w 3745"/>
                <a:gd name="T91" fmla="*/ 704 h 863"/>
                <a:gd name="T92" fmla="*/ 2159 w 3745"/>
                <a:gd name="T93" fmla="*/ 253 h 863"/>
                <a:gd name="T94" fmla="*/ 2304 w 3745"/>
                <a:gd name="T95" fmla="*/ 530 h 863"/>
                <a:gd name="T96" fmla="*/ 2409 w 3745"/>
                <a:gd name="T97" fmla="*/ 432 h 863"/>
                <a:gd name="T98" fmla="*/ 2159 w 3745"/>
                <a:gd name="T99" fmla="*/ 189 h 863"/>
                <a:gd name="T100" fmla="*/ 1963 w 3745"/>
                <a:gd name="T101" fmla="*/ 709 h 863"/>
                <a:gd name="T102" fmla="*/ 2159 w 3745"/>
                <a:gd name="T103" fmla="*/ 768 h 863"/>
                <a:gd name="T104" fmla="*/ 2409 w 3745"/>
                <a:gd name="T105" fmla="*/ 530 h 863"/>
                <a:gd name="T106" fmla="*/ 2409 w 3745"/>
                <a:gd name="T107" fmla="*/ 432 h 863"/>
                <a:gd name="T108" fmla="*/ 3332 w 3745"/>
                <a:gd name="T109" fmla="*/ 190 h 863"/>
                <a:gd name="T110" fmla="*/ 2831 w 3745"/>
                <a:gd name="T111" fmla="*/ 254 h 863"/>
                <a:gd name="T112" fmla="*/ 3028 w 3745"/>
                <a:gd name="T113" fmla="*/ 710 h 863"/>
                <a:gd name="T114" fmla="*/ 3135 w 3745"/>
                <a:gd name="T115" fmla="*/ 768 h 863"/>
                <a:gd name="T116" fmla="*/ 3313 w 3745"/>
                <a:gd name="T117" fmla="*/ 254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745" h="863">
                  <a:moveTo>
                    <a:pt x="660" y="0"/>
                  </a:moveTo>
                  <a:lnTo>
                    <a:pt x="660" y="0"/>
                  </a:lnTo>
                  <a:lnTo>
                    <a:pt x="22" y="0"/>
                  </a:lnTo>
                  <a:lnTo>
                    <a:pt x="0" y="73"/>
                  </a:lnTo>
                  <a:lnTo>
                    <a:pt x="292" y="73"/>
                  </a:lnTo>
                  <a:lnTo>
                    <a:pt x="292" y="804"/>
                  </a:lnTo>
                  <a:cubicBezTo>
                    <a:pt x="292" y="843"/>
                    <a:pt x="316" y="863"/>
                    <a:pt x="360" y="863"/>
                  </a:cubicBezTo>
                  <a:lnTo>
                    <a:pt x="399" y="863"/>
                  </a:lnTo>
                  <a:lnTo>
                    <a:pt x="399" y="73"/>
                  </a:lnTo>
                  <a:lnTo>
                    <a:pt x="637" y="73"/>
                  </a:lnTo>
                  <a:lnTo>
                    <a:pt x="660" y="0"/>
                  </a:lnTo>
                  <a:lnTo>
                    <a:pt x="660" y="0"/>
                  </a:lnTo>
                  <a:close/>
                  <a:moveTo>
                    <a:pt x="2673" y="181"/>
                  </a:moveTo>
                  <a:lnTo>
                    <a:pt x="2673" y="181"/>
                  </a:lnTo>
                  <a:cubicBezTo>
                    <a:pt x="2647" y="181"/>
                    <a:pt x="2626" y="190"/>
                    <a:pt x="2621" y="203"/>
                  </a:cubicBezTo>
                  <a:lnTo>
                    <a:pt x="2408" y="768"/>
                  </a:lnTo>
                  <a:lnTo>
                    <a:pt x="2448" y="768"/>
                  </a:lnTo>
                  <a:cubicBezTo>
                    <a:pt x="2491" y="768"/>
                    <a:pt x="2509" y="764"/>
                    <a:pt x="2522" y="729"/>
                  </a:cubicBezTo>
                  <a:lnTo>
                    <a:pt x="2570" y="596"/>
                  </a:lnTo>
                  <a:lnTo>
                    <a:pt x="2698" y="596"/>
                  </a:lnTo>
                  <a:lnTo>
                    <a:pt x="2679" y="533"/>
                  </a:lnTo>
                  <a:lnTo>
                    <a:pt x="2590" y="533"/>
                  </a:lnTo>
                  <a:lnTo>
                    <a:pt x="2669" y="310"/>
                  </a:lnTo>
                  <a:lnTo>
                    <a:pt x="2812" y="729"/>
                  </a:lnTo>
                  <a:cubicBezTo>
                    <a:pt x="2824" y="764"/>
                    <a:pt x="2845" y="768"/>
                    <a:pt x="2891" y="768"/>
                  </a:cubicBezTo>
                  <a:lnTo>
                    <a:pt x="2941" y="768"/>
                  </a:lnTo>
                  <a:lnTo>
                    <a:pt x="2725" y="203"/>
                  </a:lnTo>
                  <a:cubicBezTo>
                    <a:pt x="2720" y="190"/>
                    <a:pt x="2697" y="181"/>
                    <a:pt x="2673" y="181"/>
                  </a:cubicBezTo>
                  <a:close/>
                  <a:moveTo>
                    <a:pt x="3529" y="203"/>
                  </a:moveTo>
                  <a:lnTo>
                    <a:pt x="3529" y="203"/>
                  </a:lnTo>
                  <a:cubicBezTo>
                    <a:pt x="3524" y="190"/>
                    <a:pt x="3501" y="181"/>
                    <a:pt x="3477" y="181"/>
                  </a:cubicBezTo>
                  <a:cubicBezTo>
                    <a:pt x="3451" y="181"/>
                    <a:pt x="3430" y="190"/>
                    <a:pt x="3425" y="203"/>
                  </a:cubicBezTo>
                  <a:lnTo>
                    <a:pt x="3212" y="768"/>
                  </a:lnTo>
                  <a:lnTo>
                    <a:pt x="3252" y="768"/>
                  </a:lnTo>
                  <a:cubicBezTo>
                    <a:pt x="3294" y="768"/>
                    <a:pt x="3313" y="764"/>
                    <a:pt x="3326" y="729"/>
                  </a:cubicBezTo>
                  <a:lnTo>
                    <a:pt x="3374" y="596"/>
                  </a:lnTo>
                  <a:lnTo>
                    <a:pt x="3502" y="596"/>
                  </a:lnTo>
                  <a:lnTo>
                    <a:pt x="3483" y="533"/>
                  </a:lnTo>
                  <a:lnTo>
                    <a:pt x="3394" y="533"/>
                  </a:lnTo>
                  <a:lnTo>
                    <a:pt x="3473" y="310"/>
                  </a:lnTo>
                  <a:lnTo>
                    <a:pt x="3616" y="729"/>
                  </a:lnTo>
                  <a:cubicBezTo>
                    <a:pt x="3628" y="764"/>
                    <a:pt x="3649" y="768"/>
                    <a:pt x="3695" y="768"/>
                  </a:cubicBezTo>
                  <a:lnTo>
                    <a:pt x="3745" y="768"/>
                  </a:lnTo>
                  <a:lnTo>
                    <a:pt x="3529" y="203"/>
                  </a:lnTo>
                  <a:lnTo>
                    <a:pt x="3529" y="203"/>
                  </a:lnTo>
                  <a:close/>
                  <a:moveTo>
                    <a:pt x="1655" y="181"/>
                  </a:moveTo>
                  <a:lnTo>
                    <a:pt x="1655" y="181"/>
                  </a:lnTo>
                  <a:cubicBezTo>
                    <a:pt x="1630" y="181"/>
                    <a:pt x="1608" y="190"/>
                    <a:pt x="1603" y="203"/>
                  </a:cubicBezTo>
                  <a:lnTo>
                    <a:pt x="1399" y="746"/>
                  </a:lnTo>
                  <a:lnTo>
                    <a:pt x="1247" y="515"/>
                  </a:lnTo>
                  <a:cubicBezTo>
                    <a:pt x="1327" y="501"/>
                    <a:pt x="1374" y="459"/>
                    <a:pt x="1374" y="387"/>
                  </a:cubicBezTo>
                  <a:lnTo>
                    <a:pt x="1374" y="336"/>
                  </a:lnTo>
                  <a:cubicBezTo>
                    <a:pt x="1374" y="232"/>
                    <a:pt x="1277" y="189"/>
                    <a:pt x="1149" y="189"/>
                  </a:cubicBezTo>
                  <a:lnTo>
                    <a:pt x="969" y="189"/>
                  </a:lnTo>
                  <a:lnTo>
                    <a:pt x="969" y="704"/>
                  </a:lnTo>
                  <a:lnTo>
                    <a:pt x="737" y="704"/>
                  </a:lnTo>
                  <a:cubicBezTo>
                    <a:pt x="646" y="704"/>
                    <a:pt x="625" y="684"/>
                    <a:pt x="625" y="590"/>
                  </a:cubicBezTo>
                  <a:lnTo>
                    <a:pt x="625" y="488"/>
                  </a:lnTo>
                  <a:lnTo>
                    <a:pt x="797" y="488"/>
                  </a:lnTo>
                  <a:lnTo>
                    <a:pt x="816" y="424"/>
                  </a:lnTo>
                  <a:lnTo>
                    <a:pt x="625" y="424"/>
                  </a:lnTo>
                  <a:lnTo>
                    <a:pt x="625" y="253"/>
                  </a:lnTo>
                  <a:lnTo>
                    <a:pt x="878" y="253"/>
                  </a:lnTo>
                  <a:lnTo>
                    <a:pt x="897" y="189"/>
                  </a:lnTo>
                  <a:lnTo>
                    <a:pt x="520" y="189"/>
                  </a:lnTo>
                  <a:lnTo>
                    <a:pt x="520" y="590"/>
                  </a:lnTo>
                  <a:cubicBezTo>
                    <a:pt x="520" y="724"/>
                    <a:pt x="552" y="768"/>
                    <a:pt x="735" y="768"/>
                  </a:cubicBezTo>
                  <a:lnTo>
                    <a:pt x="1074" y="766"/>
                  </a:lnTo>
                  <a:lnTo>
                    <a:pt x="1074" y="253"/>
                  </a:lnTo>
                  <a:lnTo>
                    <a:pt x="1149" y="253"/>
                  </a:lnTo>
                  <a:cubicBezTo>
                    <a:pt x="1230" y="253"/>
                    <a:pt x="1271" y="282"/>
                    <a:pt x="1271" y="337"/>
                  </a:cubicBezTo>
                  <a:lnTo>
                    <a:pt x="1271" y="387"/>
                  </a:lnTo>
                  <a:cubicBezTo>
                    <a:pt x="1271" y="443"/>
                    <a:pt x="1220" y="461"/>
                    <a:pt x="1157" y="461"/>
                  </a:cubicBezTo>
                  <a:lnTo>
                    <a:pt x="1110" y="461"/>
                  </a:lnTo>
                  <a:lnTo>
                    <a:pt x="1269" y="733"/>
                  </a:lnTo>
                  <a:cubicBezTo>
                    <a:pt x="1287" y="765"/>
                    <a:pt x="1296" y="768"/>
                    <a:pt x="1338" y="768"/>
                  </a:cubicBezTo>
                  <a:lnTo>
                    <a:pt x="1430" y="768"/>
                  </a:lnTo>
                  <a:cubicBezTo>
                    <a:pt x="1473" y="768"/>
                    <a:pt x="1492" y="764"/>
                    <a:pt x="1505" y="729"/>
                  </a:cubicBezTo>
                  <a:lnTo>
                    <a:pt x="1552" y="596"/>
                  </a:lnTo>
                  <a:lnTo>
                    <a:pt x="1680" y="596"/>
                  </a:lnTo>
                  <a:lnTo>
                    <a:pt x="1661" y="533"/>
                  </a:lnTo>
                  <a:lnTo>
                    <a:pt x="1573" y="533"/>
                  </a:lnTo>
                  <a:lnTo>
                    <a:pt x="1652" y="310"/>
                  </a:lnTo>
                  <a:lnTo>
                    <a:pt x="1795" y="729"/>
                  </a:lnTo>
                  <a:cubicBezTo>
                    <a:pt x="1807" y="764"/>
                    <a:pt x="1827" y="768"/>
                    <a:pt x="1873" y="768"/>
                  </a:cubicBezTo>
                  <a:lnTo>
                    <a:pt x="1923" y="768"/>
                  </a:lnTo>
                  <a:lnTo>
                    <a:pt x="1707" y="203"/>
                  </a:lnTo>
                  <a:cubicBezTo>
                    <a:pt x="1702" y="190"/>
                    <a:pt x="1679" y="181"/>
                    <a:pt x="1655" y="181"/>
                  </a:cubicBezTo>
                  <a:close/>
                  <a:moveTo>
                    <a:pt x="2304" y="530"/>
                  </a:moveTo>
                  <a:lnTo>
                    <a:pt x="2304" y="530"/>
                  </a:lnTo>
                  <a:cubicBezTo>
                    <a:pt x="2304" y="647"/>
                    <a:pt x="2266" y="704"/>
                    <a:pt x="2162" y="704"/>
                  </a:cubicBezTo>
                  <a:lnTo>
                    <a:pt x="2068" y="704"/>
                  </a:lnTo>
                  <a:lnTo>
                    <a:pt x="2068" y="253"/>
                  </a:lnTo>
                  <a:lnTo>
                    <a:pt x="2159" y="253"/>
                  </a:lnTo>
                  <a:cubicBezTo>
                    <a:pt x="2266" y="253"/>
                    <a:pt x="2304" y="316"/>
                    <a:pt x="2304" y="433"/>
                  </a:cubicBezTo>
                  <a:lnTo>
                    <a:pt x="2304" y="530"/>
                  </a:lnTo>
                  <a:lnTo>
                    <a:pt x="2304" y="530"/>
                  </a:lnTo>
                  <a:close/>
                  <a:moveTo>
                    <a:pt x="2409" y="432"/>
                  </a:moveTo>
                  <a:lnTo>
                    <a:pt x="2409" y="432"/>
                  </a:lnTo>
                  <a:cubicBezTo>
                    <a:pt x="2409" y="270"/>
                    <a:pt x="2326" y="189"/>
                    <a:pt x="2159" y="189"/>
                  </a:cubicBezTo>
                  <a:lnTo>
                    <a:pt x="1963" y="189"/>
                  </a:lnTo>
                  <a:lnTo>
                    <a:pt x="1963" y="709"/>
                  </a:lnTo>
                  <a:cubicBezTo>
                    <a:pt x="1963" y="748"/>
                    <a:pt x="1984" y="768"/>
                    <a:pt x="2029" y="768"/>
                  </a:cubicBezTo>
                  <a:lnTo>
                    <a:pt x="2159" y="768"/>
                  </a:lnTo>
                  <a:lnTo>
                    <a:pt x="2180" y="767"/>
                  </a:lnTo>
                  <a:cubicBezTo>
                    <a:pt x="2337" y="761"/>
                    <a:pt x="2409" y="693"/>
                    <a:pt x="2409" y="530"/>
                  </a:cubicBezTo>
                  <a:lnTo>
                    <a:pt x="2409" y="432"/>
                  </a:lnTo>
                  <a:lnTo>
                    <a:pt x="2409" y="432"/>
                  </a:lnTo>
                  <a:close/>
                  <a:moveTo>
                    <a:pt x="3332" y="190"/>
                  </a:moveTo>
                  <a:lnTo>
                    <a:pt x="3332" y="190"/>
                  </a:lnTo>
                  <a:lnTo>
                    <a:pt x="2851" y="190"/>
                  </a:lnTo>
                  <a:lnTo>
                    <a:pt x="2831" y="254"/>
                  </a:lnTo>
                  <a:lnTo>
                    <a:pt x="3028" y="254"/>
                  </a:lnTo>
                  <a:lnTo>
                    <a:pt x="3028" y="710"/>
                  </a:lnTo>
                  <a:cubicBezTo>
                    <a:pt x="3028" y="749"/>
                    <a:pt x="3052" y="768"/>
                    <a:pt x="3096" y="768"/>
                  </a:cubicBezTo>
                  <a:lnTo>
                    <a:pt x="3135" y="768"/>
                  </a:lnTo>
                  <a:lnTo>
                    <a:pt x="3135" y="254"/>
                  </a:lnTo>
                  <a:lnTo>
                    <a:pt x="3313" y="254"/>
                  </a:lnTo>
                  <a:lnTo>
                    <a:pt x="3332" y="19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entury Gothic"/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/>
          </p:nvSpPr>
          <p:spPr bwMode="gray">
            <a:xfrm>
              <a:off x="3974" y="2210"/>
              <a:ext cx="59" cy="59"/>
            </a:xfrm>
            <a:custGeom>
              <a:avLst/>
              <a:gdLst>
                <a:gd name="T0" fmla="*/ 59 w 99"/>
                <a:gd name="T1" fmla="*/ 30 h 98"/>
                <a:gd name="T2" fmla="*/ 59 w 99"/>
                <a:gd name="T3" fmla="*/ 30 h 98"/>
                <a:gd name="T4" fmla="*/ 47 w 99"/>
                <a:gd name="T5" fmla="*/ 28 h 98"/>
                <a:gd name="T6" fmla="*/ 39 w 99"/>
                <a:gd name="T7" fmla="*/ 28 h 98"/>
                <a:gd name="T8" fmla="*/ 39 w 99"/>
                <a:gd name="T9" fmla="*/ 48 h 98"/>
                <a:gd name="T10" fmla="*/ 48 w 99"/>
                <a:gd name="T11" fmla="*/ 48 h 98"/>
                <a:gd name="T12" fmla="*/ 57 w 99"/>
                <a:gd name="T13" fmla="*/ 46 h 98"/>
                <a:gd name="T14" fmla="*/ 63 w 99"/>
                <a:gd name="T15" fmla="*/ 38 h 98"/>
                <a:gd name="T16" fmla="*/ 59 w 99"/>
                <a:gd name="T17" fmla="*/ 30 h 98"/>
                <a:gd name="T18" fmla="*/ 49 w 99"/>
                <a:gd name="T19" fmla="*/ 22 h 98"/>
                <a:gd name="T20" fmla="*/ 49 w 99"/>
                <a:gd name="T21" fmla="*/ 22 h 98"/>
                <a:gd name="T22" fmla="*/ 63 w 99"/>
                <a:gd name="T23" fmla="*/ 23 h 98"/>
                <a:gd name="T24" fmla="*/ 72 w 99"/>
                <a:gd name="T25" fmla="*/ 37 h 98"/>
                <a:gd name="T26" fmla="*/ 66 w 99"/>
                <a:gd name="T27" fmla="*/ 48 h 98"/>
                <a:gd name="T28" fmla="*/ 59 w 99"/>
                <a:gd name="T29" fmla="*/ 51 h 98"/>
                <a:gd name="T30" fmla="*/ 68 w 99"/>
                <a:gd name="T31" fmla="*/ 56 h 98"/>
                <a:gd name="T32" fmla="*/ 71 w 99"/>
                <a:gd name="T33" fmla="*/ 64 h 98"/>
                <a:gd name="T34" fmla="*/ 71 w 99"/>
                <a:gd name="T35" fmla="*/ 68 h 98"/>
                <a:gd name="T36" fmla="*/ 71 w 99"/>
                <a:gd name="T37" fmla="*/ 72 h 98"/>
                <a:gd name="T38" fmla="*/ 72 w 99"/>
                <a:gd name="T39" fmla="*/ 75 h 98"/>
                <a:gd name="T40" fmla="*/ 72 w 99"/>
                <a:gd name="T41" fmla="*/ 76 h 98"/>
                <a:gd name="T42" fmla="*/ 63 w 99"/>
                <a:gd name="T43" fmla="*/ 76 h 98"/>
                <a:gd name="T44" fmla="*/ 63 w 99"/>
                <a:gd name="T45" fmla="*/ 75 h 98"/>
                <a:gd name="T46" fmla="*/ 63 w 99"/>
                <a:gd name="T47" fmla="*/ 75 h 98"/>
                <a:gd name="T48" fmla="*/ 62 w 99"/>
                <a:gd name="T49" fmla="*/ 73 h 98"/>
                <a:gd name="T50" fmla="*/ 62 w 99"/>
                <a:gd name="T51" fmla="*/ 69 h 98"/>
                <a:gd name="T52" fmla="*/ 57 w 99"/>
                <a:gd name="T53" fmla="*/ 56 h 98"/>
                <a:gd name="T54" fmla="*/ 47 w 99"/>
                <a:gd name="T55" fmla="*/ 54 h 98"/>
                <a:gd name="T56" fmla="*/ 39 w 99"/>
                <a:gd name="T57" fmla="*/ 54 h 98"/>
                <a:gd name="T58" fmla="*/ 39 w 99"/>
                <a:gd name="T59" fmla="*/ 76 h 98"/>
                <a:gd name="T60" fmla="*/ 30 w 99"/>
                <a:gd name="T61" fmla="*/ 76 h 98"/>
                <a:gd name="T62" fmla="*/ 30 w 99"/>
                <a:gd name="T63" fmla="*/ 22 h 98"/>
                <a:gd name="T64" fmla="*/ 49 w 99"/>
                <a:gd name="T65" fmla="*/ 22 h 98"/>
                <a:gd name="T66" fmla="*/ 49 w 99"/>
                <a:gd name="T67" fmla="*/ 22 h 98"/>
                <a:gd name="T68" fmla="*/ 20 w 99"/>
                <a:gd name="T69" fmla="*/ 19 h 98"/>
                <a:gd name="T70" fmla="*/ 20 w 99"/>
                <a:gd name="T71" fmla="*/ 19 h 98"/>
                <a:gd name="T72" fmla="*/ 7 w 99"/>
                <a:gd name="T73" fmla="*/ 49 h 98"/>
                <a:gd name="T74" fmla="*/ 20 w 99"/>
                <a:gd name="T75" fmla="*/ 79 h 98"/>
                <a:gd name="T76" fmla="*/ 50 w 99"/>
                <a:gd name="T77" fmla="*/ 92 h 98"/>
                <a:gd name="T78" fmla="*/ 80 w 99"/>
                <a:gd name="T79" fmla="*/ 79 h 98"/>
                <a:gd name="T80" fmla="*/ 92 w 99"/>
                <a:gd name="T81" fmla="*/ 49 h 98"/>
                <a:gd name="T82" fmla="*/ 80 w 99"/>
                <a:gd name="T83" fmla="*/ 19 h 98"/>
                <a:gd name="T84" fmla="*/ 50 w 99"/>
                <a:gd name="T85" fmla="*/ 6 h 98"/>
                <a:gd name="T86" fmla="*/ 20 w 99"/>
                <a:gd name="T87" fmla="*/ 19 h 98"/>
                <a:gd name="T88" fmla="*/ 85 w 99"/>
                <a:gd name="T89" fmla="*/ 84 h 98"/>
                <a:gd name="T90" fmla="*/ 85 w 99"/>
                <a:gd name="T91" fmla="*/ 84 h 98"/>
                <a:gd name="T92" fmla="*/ 50 w 99"/>
                <a:gd name="T93" fmla="*/ 98 h 98"/>
                <a:gd name="T94" fmla="*/ 15 w 99"/>
                <a:gd name="T95" fmla="*/ 84 h 98"/>
                <a:gd name="T96" fmla="*/ 0 w 99"/>
                <a:gd name="T97" fmla="*/ 49 h 98"/>
                <a:gd name="T98" fmla="*/ 15 w 99"/>
                <a:gd name="T99" fmla="*/ 14 h 98"/>
                <a:gd name="T100" fmla="*/ 50 w 99"/>
                <a:gd name="T101" fmla="*/ 0 h 98"/>
                <a:gd name="T102" fmla="*/ 85 w 99"/>
                <a:gd name="T103" fmla="*/ 14 h 98"/>
                <a:gd name="T104" fmla="*/ 99 w 99"/>
                <a:gd name="T105" fmla="*/ 49 h 98"/>
                <a:gd name="T106" fmla="*/ 85 w 99"/>
                <a:gd name="T107" fmla="*/ 8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" h="98">
                  <a:moveTo>
                    <a:pt x="59" y="30"/>
                  </a:moveTo>
                  <a:lnTo>
                    <a:pt x="59" y="30"/>
                  </a:lnTo>
                  <a:cubicBezTo>
                    <a:pt x="57" y="29"/>
                    <a:pt x="53" y="28"/>
                    <a:pt x="47" y="28"/>
                  </a:cubicBezTo>
                  <a:lnTo>
                    <a:pt x="39" y="28"/>
                  </a:lnTo>
                  <a:lnTo>
                    <a:pt x="39" y="48"/>
                  </a:lnTo>
                  <a:lnTo>
                    <a:pt x="48" y="48"/>
                  </a:lnTo>
                  <a:cubicBezTo>
                    <a:pt x="52" y="48"/>
                    <a:pt x="55" y="47"/>
                    <a:pt x="57" y="46"/>
                  </a:cubicBezTo>
                  <a:cubicBezTo>
                    <a:pt x="61" y="45"/>
                    <a:pt x="63" y="42"/>
                    <a:pt x="63" y="38"/>
                  </a:cubicBezTo>
                  <a:cubicBezTo>
                    <a:pt x="63" y="34"/>
                    <a:pt x="61" y="31"/>
                    <a:pt x="59" y="30"/>
                  </a:cubicBezTo>
                  <a:close/>
                  <a:moveTo>
                    <a:pt x="49" y="22"/>
                  </a:moveTo>
                  <a:lnTo>
                    <a:pt x="49" y="22"/>
                  </a:lnTo>
                  <a:cubicBezTo>
                    <a:pt x="55" y="22"/>
                    <a:pt x="60" y="22"/>
                    <a:pt x="63" y="23"/>
                  </a:cubicBezTo>
                  <a:cubicBezTo>
                    <a:pt x="69" y="26"/>
                    <a:pt x="72" y="30"/>
                    <a:pt x="72" y="37"/>
                  </a:cubicBezTo>
                  <a:cubicBezTo>
                    <a:pt x="72" y="42"/>
                    <a:pt x="70" y="46"/>
                    <a:pt x="66" y="48"/>
                  </a:cubicBezTo>
                  <a:cubicBezTo>
                    <a:pt x="65" y="49"/>
                    <a:pt x="62" y="50"/>
                    <a:pt x="59" y="51"/>
                  </a:cubicBezTo>
                  <a:cubicBezTo>
                    <a:pt x="63" y="51"/>
                    <a:pt x="66" y="53"/>
                    <a:pt x="68" y="56"/>
                  </a:cubicBezTo>
                  <a:cubicBezTo>
                    <a:pt x="70" y="59"/>
                    <a:pt x="71" y="62"/>
                    <a:pt x="71" y="64"/>
                  </a:cubicBezTo>
                  <a:lnTo>
                    <a:pt x="71" y="68"/>
                  </a:lnTo>
                  <a:cubicBezTo>
                    <a:pt x="71" y="69"/>
                    <a:pt x="71" y="71"/>
                    <a:pt x="71" y="72"/>
                  </a:cubicBezTo>
                  <a:cubicBezTo>
                    <a:pt x="71" y="74"/>
                    <a:pt x="71" y="75"/>
                    <a:pt x="72" y="75"/>
                  </a:cubicBezTo>
                  <a:lnTo>
                    <a:pt x="72" y="76"/>
                  </a:lnTo>
                  <a:lnTo>
                    <a:pt x="63" y="76"/>
                  </a:lnTo>
                  <a:cubicBezTo>
                    <a:pt x="63" y="76"/>
                    <a:pt x="63" y="75"/>
                    <a:pt x="63" y="75"/>
                  </a:cubicBezTo>
                  <a:cubicBezTo>
                    <a:pt x="63" y="75"/>
                    <a:pt x="63" y="75"/>
                    <a:pt x="63" y="75"/>
                  </a:cubicBezTo>
                  <a:lnTo>
                    <a:pt x="62" y="73"/>
                  </a:lnTo>
                  <a:lnTo>
                    <a:pt x="62" y="69"/>
                  </a:lnTo>
                  <a:cubicBezTo>
                    <a:pt x="62" y="62"/>
                    <a:pt x="61" y="58"/>
                    <a:pt x="57" y="56"/>
                  </a:cubicBezTo>
                  <a:cubicBezTo>
                    <a:pt x="55" y="55"/>
                    <a:pt x="52" y="54"/>
                    <a:pt x="47" y="54"/>
                  </a:cubicBezTo>
                  <a:lnTo>
                    <a:pt x="39" y="54"/>
                  </a:lnTo>
                  <a:lnTo>
                    <a:pt x="39" y="76"/>
                  </a:lnTo>
                  <a:lnTo>
                    <a:pt x="30" y="76"/>
                  </a:lnTo>
                  <a:lnTo>
                    <a:pt x="30" y="22"/>
                  </a:lnTo>
                  <a:lnTo>
                    <a:pt x="49" y="22"/>
                  </a:lnTo>
                  <a:lnTo>
                    <a:pt x="49" y="22"/>
                  </a:lnTo>
                  <a:close/>
                  <a:moveTo>
                    <a:pt x="20" y="19"/>
                  </a:moveTo>
                  <a:lnTo>
                    <a:pt x="20" y="19"/>
                  </a:lnTo>
                  <a:cubicBezTo>
                    <a:pt x="11" y="27"/>
                    <a:pt x="7" y="37"/>
                    <a:pt x="7" y="49"/>
                  </a:cubicBezTo>
                  <a:cubicBezTo>
                    <a:pt x="7" y="61"/>
                    <a:pt x="11" y="71"/>
                    <a:pt x="20" y="79"/>
                  </a:cubicBezTo>
                  <a:cubicBezTo>
                    <a:pt x="28" y="87"/>
                    <a:pt x="38" y="92"/>
                    <a:pt x="50" y="92"/>
                  </a:cubicBezTo>
                  <a:cubicBezTo>
                    <a:pt x="61" y="92"/>
                    <a:pt x="71" y="87"/>
                    <a:pt x="80" y="79"/>
                  </a:cubicBezTo>
                  <a:cubicBezTo>
                    <a:pt x="88" y="71"/>
                    <a:pt x="92" y="61"/>
                    <a:pt x="92" y="49"/>
                  </a:cubicBezTo>
                  <a:cubicBezTo>
                    <a:pt x="92" y="37"/>
                    <a:pt x="88" y="27"/>
                    <a:pt x="80" y="19"/>
                  </a:cubicBezTo>
                  <a:cubicBezTo>
                    <a:pt x="71" y="10"/>
                    <a:pt x="61" y="6"/>
                    <a:pt x="50" y="6"/>
                  </a:cubicBezTo>
                  <a:cubicBezTo>
                    <a:pt x="38" y="6"/>
                    <a:pt x="28" y="10"/>
                    <a:pt x="20" y="19"/>
                  </a:cubicBezTo>
                  <a:close/>
                  <a:moveTo>
                    <a:pt x="85" y="84"/>
                  </a:moveTo>
                  <a:lnTo>
                    <a:pt x="85" y="84"/>
                  </a:lnTo>
                  <a:cubicBezTo>
                    <a:pt x="75" y="94"/>
                    <a:pt x="63" y="98"/>
                    <a:pt x="50" y="98"/>
                  </a:cubicBezTo>
                  <a:cubicBezTo>
                    <a:pt x="36" y="98"/>
                    <a:pt x="24" y="94"/>
                    <a:pt x="15" y="84"/>
                  </a:cubicBezTo>
                  <a:cubicBezTo>
                    <a:pt x="5" y="74"/>
                    <a:pt x="0" y="63"/>
                    <a:pt x="0" y="49"/>
                  </a:cubicBezTo>
                  <a:cubicBezTo>
                    <a:pt x="0" y="35"/>
                    <a:pt x="5" y="24"/>
                    <a:pt x="15" y="14"/>
                  </a:cubicBezTo>
                  <a:cubicBezTo>
                    <a:pt x="24" y="4"/>
                    <a:pt x="36" y="0"/>
                    <a:pt x="50" y="0"/>
                  </a:cubicBezTo>
                  <a:cubicBezTo>
                    <a:pt x="63" y="0"/>
                    <a:pt x="75" y="4"/>
                    <a:pt x="85" y="14"/>
                  </a:cubicBezTo>
                  <a:cubicBezTo>
                    <a:pt x="94" y="24"/>
                    <a:pt x="99" y="35"/>
                    <a:pt x="99" y="49"/>
                  </a:cubicBezTo>
                  <a:cubicBezTo>
                    <a:pt x="99" y="63"/>
                    <a:pt x="94" y="74"/>
                    <a:pt x="85" y="8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entury Gothic"/>
              </a:endParaRPr>
            </a:p>
          </p:txBody>
        </p:sp>
      </p:grpSp>
    </p:spTree>
  </p:cSld>
  <p:clrMapOvr>
    <a:masterClrMapping/>
  </p:clrMapOvr>
  <p:transition xmlns:p14="http://schemas.microsoft.com/office/powerpoint/2010/main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ail </a:t>
            </a:r>
            <a:r>
              <a:rPr lang="en-US" dirty="0"/>
              <a:t>manufacturing is a low-margin, high-risk industry. </a:t>
            </a:r>
            <a:r>
              <a:rPr lang="en-US" dirty="0" smtClean="0"/>
              <a:t>Operating </a:t>
            </a:r>
            <a:r>
              <a:rPr lang="en-US" dirty="0"/>
              <a:t>conditions can change dramatically over the long lifecycles in rail (10-year vehicle delivery cycles, 30-year operating cycles). </a:t>
            </a:r>
            <a:endParaRPr lang="en-US" dirty="0" smtClean="0"/>
          </a:p>
          <a:p>
            <a:r>
              <a:rPr lang="en-US" dirty="0" smtClean="0"/>
              <a:t>In </a:t>
            </a:r>
            <a:r>
              <a:rPr lang="en-US" dirty="0"/>
              <a:t>Europe, each country has adopted its own systems for rail </a:t>
            </a:r>
            <a:r>
              <a:rPr lang="en-US" dirty="0" smtClean="0"/>
              <a:t>transport. </a:t>
            </a:r>
            <a:r>
              <a:rPr lang="en-US" dirty="0"/>
              <a:t>Incompatibility among the various information systems and processes on trains, and between trains and the wayside, creates a complex networking environment. </a:t>
            </a:r>
            <a:endParaRPr lang="en-US" dirty="0" smtClean="0"/>
          </a:p>
          <a:p>
            <a:r>
              <a:rPr lang="en-US" dirty="0" smtClean="0"/>
              <a:t>Need </a:t>
            </a:r>
            <a:r>
              <a:rPr lang="en-US" dirty="0"/>
              <a:t>for differentiation: Rail industry expansion, liberalization, and increased competition are driving the need for rail companies to innovate to capture new market share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Challenges in rail transportation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roduction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144767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76" y="2209800"/>
            <a:ext cx="23018448" cy="5401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219200" y="7391400"/>
            <a:ext cx="21945600" cy="4720717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Capturing processes is the beginning of analytical examination and creates an integrated, deeper understanding of systems </a:t>
            </a:r>
          </a:p>
          <a:p>
            <a:pPr marL="574668" indent="-574668">
              <a:spcBef>
                <a:spcPts val="952"/>
              </a:spcBef>
            </a:pP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If you know the system, you can use it more efficiently – this is possible by remote-based condition monitoring</a:t>
            </a:r>
          </a:p>
          <a:p>
            <a:pPr marL="574668" indent="-574668">
              <a:spcBef>
                <a:spcPts val="952"/>
              </a:spcBef>
            </a:pP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Latest technique and expert knowledge increase mobility system availability</a:t>
            </a:r>
          </a:p>
          <a:p>
            <a:pPr marL="574668" indent="-574668">
              <a:spcBef>
                <a:spcPts val="952"/>
              </a:spcBef>
            </a:pP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Global field data is analyzed as basis for the “Mobility Data Services”</a:t>
            </a:r>
          </a:p>
          <a:p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n-US" sz="4400" dirty="0"/>
              <a:t>reflects reality and allows deeper system understanding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8000" dirty="0" smtClean="0"/>
              <a:t>Digitalization</a:t>
            </a:r>
            <a:endParaRPr lang="en-US" sz="60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524798"/>
      </p:ext>
    </p:extLst>
  </p:cSld>
  <p:clrMapOvr>
    <a:masterClrMapping/>
  </p:clrMapOvr>
  <p:transition xmlns:p14="http://schemas.microsoft.com/office/powerpoint/2010/main"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n-US" dirty="0"/>
              <a:t>The future of maintenance already in operation today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bility Services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37"/>
          <p:cNvSpPr/>
          <p:nvPr/>
        </p:nvSpPr>
        <p:spPr bwMode="auto">
          <a:xfrm>
            <a:off x="2197102" y="2831363"/>
            <a:ext cx="21303315" cy="6176108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  <a:tint val="66000"/>
                  <a:satMod val="160000"/>
                </a:schemeClr>
              </a:gs>
              <a:gs pos="50000">
                <a:schemeClr val="bg2">
                  <a:lumMod val="50000"/>
                  <a:tint val="44500"/>
                  <a:satMod val="160000"/>
                </a:schemeClr>
              </a:gs>
              <a:gs pos="100000">
                <a:schemeClr val="bg2">
                  <a:lumMod val="5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x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257137" tIns="128569" rIns="257137" bIns="128569" numCol="1" spcCol="171425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4300" b="1" dirty="0">
              <a:solidFill>
                <a:schemeClr val="tx1"/>
              </a:solidFill>
            </a:endParaRPr>
          </a:p>
        </p:txBody>
      </p:sp>
      <p:sp>
        <p:nvSpPr>
          <p:cNvPr id="8" name="Freeform 31"/>
          <p:cNvSpPr>
            <a:spLocks noChangeAspect="1"/>
          </p:cNvSpPr>
          <p:nvPr/>
        </p:nvSpPr>
        <p:spPr bwMode="auto">
          <a:xfrm>
            <a:off x="2115989" y="2761996"/>
            <a:ext cx="21303568" cy="5807582"/>
          </a:xfrm>
          <a:custGeom>
            <a:avLst/>
            <a:gdLst/>
            <a:ahLst/>
            <a:cxnLst>
              <a:cxn ang="0">
                <a:pos x="0" y="1219"/>
              </a:cxn>
              <a:cxn ang="0">
                <a:pos x="1640" y="254"/>
              </a:cxn>
              <a:cxn ang="0">
                <a:pos x="1569" y="183"/>
              </a:cxn>
              <a:cxn ang="0">
                <a:pos x="2010" y="0"/>
              </a:cxn>
              <a:cxn ang="0">
                <a:pos x="1812" y="517"/>
              </a:cxn>
              <a:cxn ang="0">
                <a:pos x="1752" y="432"/>
              </a:cxn>
              <a:cxn ang="0">
                <a:pos x="546" y="1510"/>
              </a:cxn>
              <a:cxn ang="0">
                <a:pos x="0" y="1219"/>
              </a:cxn>
            </a:cxnLst>
            <a:rect l="0" t="0" r="r" b="b"/>
            <a:pathLst>
              <a:path w="2010" h="1510">
                <a:moveTo>
                  <a:pt x="0" y="1219"/>
                </a:moveTo>
                <a:cubicBezTo>
                  <a:pt x="947" y="842"/>
                  <a:pt x="1640" y="254"/>
                  <a:pt x="1640" y="254"/>
                </a:cubicBezTo>
                <a:cubicBezTo>
                  <a:pt x="1599" y="216"/>
                  <a:pt x="1566" y="187"/>
                  <a:pt x="1569" y="183"/>
                </a:cubicBezTo>
                <a:cubicBezTo>
                  <a:pt x="1787" y="136"/>
                  <a:pt x="2010" y="0"/>
                  <a:pt x="2010" y="0"/>
                </a:cubicBezTo>
                <a:cubicBezTo>
                  <a:pt x="2010" y="0"/>
                  <a:pt x="1932" y="258"/>
                  <a:pt x="1812" y="517"/>
                </a:cubicBezTo>
                <a:cubicBezTo>
                  <a:pt x="1813" y="527"/>
                  <a:pt x="1782" y="474"/>
                  <a:pt x="1752" y="432"/>
                </a:cubicBezTo>
                <a:cubicBezTo>
                  <a:pt x="1752" y="432"/>
                  <a:pt x="1273" y="1025"/>
                  <a:pt x="546" y="1510"/>
                </a:cubicBezTo>
                <a:cubicBezTo>
                  <a:pt x="546" y="1510"/>
                  <a:pt x="340" y="1244"/>
                  <a:pt x="0" y="1219"/>
                </a:cubicBezTo>
                <a:close/>
              </a:path>
            </a:pathLst>
          </a:custGeom>
          <a:solidFill>
            <a:schemeClr val="accent1"/>
          </a:solidFill>
          <a:ln w="9525" cap="rnd" cmpd="sng">
            <a:noFill/>
            <a:prstDash val="sysDot"/>
            <a:round/>
            <a:headEnd/>
            <a:tailEnd/>
          </a:ln>
          <a:effectLst>
            <a:outerShdw dist="38100" algn="ctr" rotWithShape="0">
              <a:schemeClr val="tx1"/>
            </a:outerShdw>
          </a:effectLst>
        </p:spPr>
        <p:txBody>
          <a:bodyPr lIns="0" tIns="0" rIns="0" bIns="0" anchor="ctr">
            <a:noAutofit/>
          </a:bodyPr>
          <a:lstStyle/>
          <a:p>
            <a:endParaRPr lang="en-US"/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19305732" y="9064204"/>
            <a:ext cx="4101864" cy="161872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71425" tIns="8571" rIns="171425" bIns="8571" anchor="ctr"/>
          <a:lstStyle/>
          <a:p>
            <a:pPr defTabSz="2177095" fontAlgn="auto">
              <a:spcAft>
                <a:spcPts val="0"/>
              </a:spcAft>
              <a:defRPr/>
            </a:pPr>
            <a:r>
              <a:rPr lang="en-US" sz="3800" b="1" kern="0" dirty="0">
                <a:solidFill>
                  <a:schemeClr val="bg1">
                    <a:lumMod val="50000"/>
                  </a:schemeClr>
                </a:solidFill>
              </a:rPr>
              <a:t>Next Generation Maintenance</a:t>
            </a:r>
          </a:p>
        </p:txBody>
      </p:sp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2239441" y="9064204"/>
            <a:ext cx="4101864" cy="161872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14281" tIns="111426" rIns="214281" bIns="111426" anchor="ctr"/>
          <a:lstStyle/>
          <a:p>
            <a:pPr defTabSz="2177095" fontAlgn="auto">
              <a:spcAft>
                <a:spcPts val="0"/>
              </a:spcAft>
              <a:defRPr/>
            </a:pPr>
            <a:r>
              <a:rPr lang="en-US" sz="3800" b="1" kern="0" dirty="0">
                <a:solidFill>
                  <a:schemeClr val="bg1">
                    <a:lumMod val="50000"/>
                  </a:schemeClr>
                </a:solidFill>
              </a:rPr>
              <a:t>Reactive</a:t>
            </a:r>
          </a:p>
          <a:p>
            <a:pPr defTabSz="2177095" fontAlgn="auto">
              <a:spcAft>
                <a:spcPts val="0"/>
              </a:spcAft>
              <a:defRPr/>
            </a:pPr>
            <a:r>
              <a:rPr lang="en-US" sz="3800" b="1" kern="0" dirty="0">
                <a:solidFill>
                  <a:schemeClr val="bg1">
                    <a:lumMod val="50000"/>
                  </a:schemeClr>
                </a:solidFill>
              </a:rPr>
              <a:t>Maintenance</a:t>
            </a:r>
          </a:p>
        </p:txBody>
      </p:sp>
      <p:sp>
        <p:nvSpPr>
          <p:cNvPr id="11" name="Text Box 8"/>
          <p:cNvSpPr txBox="1">
            <a:spLocks noChangeArrowheads="1"/>
          </p:cNvSpPr>
          <p:nvPr/>
        </p:nvSpPr>
        <p:spPr bwMode="auto">
          <a:xfrm>
            <a:off x="6506012" y="9064204"/>
            <a:ext cx="4101864" cy="161872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14281" tIns="111426" rIns="214281" bIns="111426" anchor="ctr"/>
          <a:lstStyle/>
          <a:p>
            <a:pPr fontAlgn="auto">
              <a:spcAft>
                <a:spcPts val="0"/>
              </a:spcAft>
              <a:defRPr/>
            </a:pPr>
            <a:r>
              <a:rPr lang="en-US" sz="3800" b="1" kern="0" dirty="0">
                <a:solidFill>
                  <a:schemeClr val="bg1">
                    <a:lumMod val="50000"/>
                  </a:schemeClr>
                </a:solidFill>
              </a:rPr>
              <a:t>Preventive </a:t>
            </a:r>
            <a:br>
              <a:rPr lang="en-US" sz="3800" b="1" kern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800" b="1" kern="0" dirty="0">
                <a:solidFill>
                  <a:schemeClr val="bg1">
                    <a:lumMod val="50000"/>
                  </a:schemeClr>
                </a:solidFill>
              </a:rPr>
              <a:t>Maintenance</a:t>
            </a:r>
          </a:p>
        </p:txBody>
      </p:sp>
      <p:sp>
        <p:nvSpPr>
          <p:cNvPr id="12" name="Text Box 9"/>
          <p:cNvSpPr txBox="1">
            <a:spLocks noChangeArrowheads="1"/>
          </p:cNvSpPr>
          <p:nvPr/>
        </p:nvSpPr>
        <p:spPr bwMode="auto">
          <a:xfrm>
            <a:off x="10772585" y="9064204"/>
            <a:ext cx="4101864" cy="161872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14281" tIns="111426" rIns="214281" bIns="111426" anchor="ctr"/>
          <a:lstStyle/>
          <a:p>
            <a:pPr defTabSz="2177095" fontAlgn="auto">
              <a:spcAft>
                <a:spcPts val="0"/>
              </a:spcAft>
              <a:defRPr/>
            </a:pPr>
            <a:r>
              <a:rPr lang="en-US" sz="3800" b="1" kern="0" dirty="0">
                <a:solidFill>
                  <a:schemeClr val="bg1">
                    <a:lumMod val="50000"/>
                  </a:schemeClr>
                </a:solidFill>
              </a:rPr>
              <a:t>Condition-based Maintenance</a:t>
            </a:r>
          </a:p>
        </p:txBody>
      </p:sp>
      <p:sp>
        <p:nvSpPr>
          <p:cNvPr id="13" name="Text Box 9"/>
          <p:cNvSpPr txBox="1">
            <a:spLocks noChangeArrowheads="1"/>
          </p:cNvSpPr>
          <p:nvPr/>
        </p:nvSpPr>
        <p:spPr bwMode="auto">
          <a:xfrm>
            <a:off x="15039156" y="9064204"/>
            <a:ext cx="4101864" cy="161872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71425" tIns="8571" rIns="171425" bIns="8571" anchor="ctr"/>
          <a:lstStyle/>
          <a:p>
            <a:pPr defTabSz="2177095" fontAlgn="auto">
              <a:spcAft>
                <a:spcPts val="0"/>
              </a:spcAft>
              <a:defRPr/>
            </a:pPr>
            <a:r>
              <a:rPr lang="en-US" sz="3800" b="1" kern="0" dirty="0">
                <a:solidFill>
                  <a:schemeClr val="bg1">
                    <a:lumMod val="50000"/>
                  </a:schemeClr>
                </a:solidFill>
              </a:rPr>
              <a:t>Predictive Maintenance</a:t>
            </a:r>
          </a:p>
        </p:txBody>
      </p:sp>
      <p:sp>
        <p:nvSpPr>
          <p:cNvPr id="14" name="Textfeld 6"/>
          <p:cNvSpPr txBox="1"/>
          <p:nvPr/>
        </p:nvSpPr>
        <p:spPr>
          <a:xfrm>
            <a:off x="1253476" y="10682929"/>
            <a:ext cx="22164456" cy="1585268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lIns="1499967" tIns="111426" rIns="214281" bIns="111426" rtlCol="0" anchor="ctr">
            <a:noAutofit/>
          </a:bodyPr>
          <a:lstStyle/>
          <a:p>
            <a:pPr marL="427105">
              <a:spcBef>
                <a:spcPts val="0"/>
              </a:spcBef>
            </a:pPr>
            <a:endParaRPr lang="en-US" sz="4800" dirty="0">
              <a:solidFill>
                <a:schemeClr val="bg1"/>
              </a:solidFill>
            </a:endParaRPr>
          </a:p>
        </p:txBody>
      </p:sp>
      <p:sp>
        <p:nvSpPr>
          <p:cNvPr id="15" name="Pfeil nach rechts 7"/>
          <p:cNvSpPr/>
          <p:nvPr/>
        </p:nvSpPr>
        <p:spPr bwMode="auto">
          <a:xfrm>
            <a:off x="1181504" y="10709350"/>
            <a:ext cx="1078565" cy="155885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bg2">
              <a:lumMod val="75000"/>
            </a:schemeClr>
          </a:solidFill>
          <a:ln w="85725">
            <a:solidFill>
              <a:schemeClr val="bg1"/>
            </a:solidFill>
          </a:ln>
          <a:effectLst/>
          <a:extLst/>
        </p:spPr>
        <p:txBody>
          <a:bodyPr wrap="square" lIns="257137" tIns="128569" rIns="257137" bIns="128569" numCol="1" spcCol="171425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4300" b="1" dirty="0">
              <a:solidFill>
                <a:schemeClr val="tx1"/>
              </a:solidFill>
            </a:endParaRPr>
          </a:p>
        </p:txBody>
      </p:sp>
      <p:cxnSp>
        <p:nvCxnSpPr>
          <p:cNvPr id="16" name="Gerade Verbindung mit Pfeil 9"/>
          <p:cNvCxnSpPr/>
          <p:nvPr/>
        </p:nvCxnSpPr>
        <p:spPr bwMode="auto">
          <a:xfrm flipV="1">
            <a:off x="2158643" y="2762250"/>
            <a:ext cx="0" cy="6245222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Textfeld 10"/>
          <p:cNvSpPr txBox="1"/>
          <p:nvPr/>
        </p:nvSpPr>
        <p:spPr>
          <a:xfrm rot="16200000">
            <a:off x="-1366817" y="5390548"/>
            <a:ext cx="6192216" cy="935619"/>
          </a:xfrm>
          <a:prstGeom prst="rect">
            <a:avLst/>
          </a:prstGeom>
          <a:noFill/>
        </p:spPr>
        <p:txBody>
          <a:bodyPr wrap="square" lIns="214281" tIns="111426" rIns="214281" bIns="111426" rtlCol="0" anchor="ctr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3800" b="1" dirty="0">
                <a:solidFill>
                  <a:schemeClr val="bg1">
                    <a:lumMod val="50000"/>
                  </a:schemeClr>
                </a:solidFill>
              </a:rPr>
              <a:t>Technical complexity</a:t>
            </a:r>
          </a:p>
        </p:txBody>
      </p:sp>
      <p:cxnSp>
        <p:nvCxnSpPr>
          <p:cNvPr id="18" name="Gerade Verbindung mit Pfeil 11"/>
          <p:cNvCxnSpPr/>
          <p:nvPr/>
        </p:nvCxnSpPr>
        <p:spPr bwMode="auto">
          <a:xfrm>
            <a:off x="2129525" y="9026469"/>
            <a:ext cx="21300907" cy="0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Textfeld 12"/>
          <p:cNvSpPr txBox="1"/>
          <p:nvPr/>
        </p:nvSpPr>
        <p:spPr>
          <a:xfrm>
            <a:off x="21548170" y="8088568"/>
            <a:ext cx="1871133" cy="936106"/>
          </a:xfrm>
          <a:prstGeom prst="rect">
            <a:avLst/>
          </a:prstGeom>
          <a:noFill/>
        </p:spPr>
        <p:txBody>
          <a:bodyPr wrap="square" lIns="214281" tIns="111426" rIns="214281" bIns="111426" rtlCol="0" anchor="ctr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3800" b="1">
                <a:solidFill>
                  <a:schemeClr val="tx1">
                    <a:lumMod val="75000"/>
                  </a:schemeClr>
                </a:solidFill>
              </a:rPr>
              <a:t>Time</a:t>
            </a:r>
            <a:endParaRPr lang="en-US" sz="3800" b="1" dirty="0">
              <a:solidFill>
                <a:schemeClr val="tx1">
                  <a:lumMod val="75000"/>
                </a:schemeClr>
              </a:solidFill>
            </a:endParaRPr>
          </a:p>
        </p:txBody>
      </p:sp>
      <p:cxnSp>
        <p:nvCxnSpPr>
          <p:cNvPr id="20" name="Gerade Verbindung 13"/>
          <p:cNvCxnSpPr/>
          <p:nvPr/>
        </p:nvCxnSpPr>
        <p:spPr bwMode="auto">
          <a:xfrm>
            <a:off x="6423659" y="2762248"/>
            <a:ext cx="0" cy="597535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sysDash"/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1" name="Gerade Verbindung 14"/>
          <p:cNvCxnSpPr/>
          <p:nvPr/>
        </p:nvCxnSpPr>
        <p:spPr bwMode="auto">
          <a:xfrm>
            <a:off x="10690229" y="2762248"/>
            <a:ext cx="0" cy="597535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sysDash"/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2" name="Gerade Verbindung 15"/>
          <p:cNvCxnSpPr/>
          <p:nvPr/>
        </p:nvCxnSpPr>
        <p:spPr bwMode="auto">
          <a:xfrm>
            <a:off x="14956803" y="2798884"/>
            <a:ext cx="0" cy="597535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sysDash"/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3" name="Textfeld 17"/>
          <p:cNvSpPr txBox="1"/>
          <p:nvPr/>
        </p:nvSpPr>
        <p:spPr>
          <a:xfrm>
            <a:off x="2431384" y="10682929"/>
            <a:ext cx="20987920" cy="1585268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lIns="214281" tIns="111426" rIns="214281" bIns="111426" rtlCol="0" anchor="ctr">
            <a:noAutofit/>
          </a:bodyPr>
          <a:lstStyle/>
          <a:p>
            <a:pPr marL="1515652" indent="-1088547">
              <a:spcBef>
                <a:spcPts val="0"/>
              </a:spcBef>
            </a:pPr>
            <a:r>
              <a:rPr lang="en-US" sz="3800">
                <a:solidFill>
                  <a:schemeClr val="bg1"/>
                </a:solidFill>
              </a:rPr>
              <a:t>Continuous optimization of existing technology and projects</a:t>
            </a:r>
          </a:p>
          <a:p>
            <a:pPr marL="1515652" indent="-1088547">
              <a:spcBef>
                <a:spcPts val="0"/>
              </a:spcBef>
            </a:pPr>
            <a:r>
              <a:rPr lang="en-US" sz="3800">
                <a:solidFill>
                  <a:schemeClr val="bg1"/>
                </a:solidFill>
              </a:rPr>
              <a:t>Consequent push of innovations and technological progress</a:t>
            </a:r>
            <a:endParaRPr lang="en-US" sz="3800" dirty="0">
              <a:solidFill>
                <a:schemeClr val="bg1"/>
              </a:solidFill>
            </a:endParaRPr>
          </a:p>
        </p:txBody>
      </p:sp>
      <p:sp>
        <p:nvSpPr>
          <p:cNvPr id="24" name="Text Box 7"/>
          <p:cNvSpPr txBox="1">
            <a:spLocks noChangeArrowheads="1"/>
          </p:cNvSpPr>
          <p:nvPr/>
        </p:nvSpPr>
        <p:spPr bwMode="auto">
          <a:xfrm>
            <a:off x="2239441" y="7072883"/>
            <a:ext cx="4101864" cy="1765072"/>
          </a:xfrm>
          <a:prstGeom prst="rect">
            <a:avLst/>
          </a:prstGeom>
          <a:solidFill>
            <a:schemeClr val="bg1">
              <a:alpha val="58000"/>
            </a:schemeClr>
          </a:solidFill>
          <a:ln w="9525">
            <a:solidFill>
              <a:schemeClr val="tx1"/>
            </a:solidFill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85712" tIns="85712" rIns="85712" bIns="85712" anchor="ctr"/>
          <a:lstStyle/>
          <a:p>
            <a:pPr marL="430883" indent="-226781" defTabSz="2177095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Wingdings" pitchFamily="2" charset="2"/>
              <a:buChar char="§"/>
              <a:tabLst>
                <a:tab pos="430883" algn="l"/>
              </a:tabLst>
              <a:defRPr/>
            </a:pPr>
            <a:r>
              <a:rPr lang="en-US" sz="2900" kern="0" dirty="0">
                <a:solidFill>
                  <a:sysClr val="windowText" lastClr="000000"/>
                </a:solidFill>
              </a:rPr>
              <a:t>Corrective maintenance </a:t>
            </a:r>
            <a:r>
              <a:rPr lang="en-US" sz="2900" b="1" kern="0" dirty="0">
                <a:solidFill>
                  <a:sysClr val="windowText" lastClr="000000"/>
                </a:solidFill>
              </a:rPr>
              <a:t>after</a:t>
            </a:r>
            <a:r>
              <a:rPr lang="en-US" sz="2900" kern="0" dirty="0">
                <a:solidFill>
                  <a:sysClr val="windowText" lastClr="000000"/>
                </a:solidFill>
              </a:rPr>
              <a:t> incidents occurred</a:t>
            </a:r>
          </a:p>
        </p:txBody>
      </p:sp>
      <p:sp>
        <p:nvSpPr>
          <p:cNvPr id="25" name="Text Box 7"/>
          <p:cNvSpPr txBox="1">
            <a:spLocks noChangeArrowheads="1"/>
          </p:cNvSpPr>
          <p:nvPr/>
        </p:nvSpPr>
        <p:spPr bwMode="auto">
          <a:xfrm>
            <a:off x="6506012" y="6506461"/>
            <a:ext cx="4101864" cy="2304288"/>
          </a:xfrm>
          <a:prstGeom prst="rect">
            <a:avLst/>
          </a:prstGeom>
          <a:solidFill>
            <a:schemeClr val="bg1">
              <a:alpha val="58000"/>
            </a:schemeClr>
          </a:solidFill>
          <a:ln w="9525">
            <a:solidFill>
              <a:schemeClr val="tx1"/>
            </a:solidFill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85712" tIns="85712" rIns="85712" bIns="85712" anchor="ctr"/>
          <a:lstStyle/>
          <a:p>
            <a:pPr marL="430883" indent="-22678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Wingdings" pitchFamily="2" charset="2"/>
              <a:buChar char="§"/>
              <a:tabLst>
                <a:tab pos="430883" algn="l"/>
              </a:tabLst>
              <a:defRPr/>
            </a:pPr>
            <a:r>
              <a:rPr lang="en-US" sz="2900" kern="0" dirty="0">
                <a:solidFill>
                  <a:sysClr val="windowText" lastClr="000000"/>
                </a:solidFill>
              </a:rPr>
              <a:t>Maintenance </a:t>
            </a:r>
            <a:r>
              <a:rPr lang="en-US" sz="2900" b="1" kern="0" dirty="0">
                <a:solidFill>
                  <a:sysClr val="windowText" lastClr="000000"/>
                </a:solidFill>
              </a:rPr>
              <a:t>before</a:t>
            </a:r>
            <a:r>
              <a:rPr lang="en-US" sz="2900" kern="0" dirty="0">
                <a:solidFill>
                  <a:sysClr val="windowText" lastClr="000000"/>
                </a:solidFill>
              </a:rPr>
              <a:t> failure occurs</a:t>
            </a:r>
            <a:endParaRPr lang="en-US" sz="2900" kern="0" dirty="0">
              <a:solidFill>
                <a:schemeClr val="tx1"/>
              </a:solidFill>
              <a:ea typeface="ＭＳ Ｐゴシック" charset="-128"/>
            </a:endParaRPr>
          </a:p>
          <a:p>
            <a:pPr marL="430883" indent="-22678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Wingdings" pitchFamily="2" charset="2"/>
              <a:buChar char="§"/>
              <a:tabLst>
                <a:tab pos="430883" algn="l"/>
              </a:tabLst>
              <a:defRPr/>
            </a:pPr>
            <a:r>
              <a:rPr lang="en-US" sz="2900" kern="0" dirty="0">
                <a:solidFill>
                  <a:schemeClr val="tx1"/>
                </a:solidFill>
              </a:rPr>
              <a:t>Based on </a:t>
            </a:r>
            <a:r>
              <a:rPr lang="en-US" sz="2900" b="1" kern="0" dirty="0">
                <a:solidFill>
                  <a:schemeClr val="tx1"/>
                </a:solidFill>
              </a:rPr>
              <a:t>fixed</a:t>
            </a:r>
            <a:r>
              <a:rPr lang="en-US" sz="2900" kern="0" dirty="0">
                <a:solidFill>
                  <a:schemeClr val="tx1"/>
                </a:solidFill>
              </a:rPr>
              <a:t> intervals and visual inspection</a:t>
            </a:r>
            <a:endParaRPr lang="en-US" sz="2900" kern="0" dirty="0">
              <a:solidFill>
                <a:sysClr val="windowText" lastClr="000000"/>
              </a:solidFill>
              <a:ea typeface="ＭＳ Ｐゴシック" charset="-128"/>
            </a:endParaRPr>
          </a:p>
        </p:txBody>
      </p:sp>
      <p:sp>
        <p:nvSpPr>
          <p:cNvPr id="26" name="Text Box 7"/>
          <p:cNvSpPr txBox="1">
            <a:spLocks noChangeArrowheads="1"/>
          </p:cNvSpPr>
          <p:nvPr/>
        </p:nvSpPr>
        <p:spPr bwMode="auto">
          <a:xfrm>
            <a:off x="10752572" y="5884860"/>
            <a:ext cx="4101864" cy="2949018"/>
          </a:xfrm>
          <a:prstGeom prst="rect">
            <a:avLst/>
          </a:prstGeom>
          <a:solidFill>
            <a:schemeClr val="bg1">
              <a:alpha val="58000"/>
            </a:schemeClr>
          </a:solidFill>
          <a:ln w="9525">
            <a:solidFill>
              <a:schemeClr val="tx1"/>
            </a:solidFill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85712" tIns="85712" rIns="85712" bIns="85712" anchor="ctr"/>
          <a:lstStyle/>
          <a:p>
            <a:pPr marL="430883" indent="-22678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Wingdings" pitchFamily="2" charset="2"/>
              <a:buChar char="§"/>
              <a:tabLst>
                <a:tab pos="430883" algn="l"/>
              </a:tabLst>
              <a:defRPr/>
            </a:pPr>
            <a:r>
              <a:rPr lang="en-US" sz="2900" kern="0" dirty="0">
                <a:solidFill>
                  <a:srgbClr val="000000"/>
                </a:solidFill>
                <a:ea typeface="ＭＳ Ｐゴシック" charset="-128"/>
                <a:cs typeface="Arial" pitchFamily="34" charset="0"/>
              </a:rPr>
              <a:t>Maintenance driven by </a:t>
            </a:r>
            <a:r>
              <a:rPr lang="en-US" sz="2900" b="1" kern="0" dirty="0">
                <a:solidFill>
                  <a:srgbClr val="000000"/>
                </a:solidFill>
                <a:ea typeface="ＭＳ Ｐゴシック" charset="-128"/>
                <a:cs typeface="Arial" pitchFamily="34" charset="0"/>
              </a:rPr>
              <a:t>actual condition</a:t>
            </a:r>
          </a:p>
          <a:p>
            <a:pPr marL="423324" indent="-423324" fontAlgn="auto">
              <a:lnSpc>
                <a:spcPct val="115000"/>
              </a:lnSpc>
              <a:spcBef>
                <a:spcPts val="714"/>
              </a:spcBef>
              <a:spcAft>
                <a:spcPts val="714"/>
              </a:spcAft>
              <a:buClr>
                <a:schemeClr val="accent5"/>
              </a:buClr>
              <a:buFont typeface="Wingdings" pitchFamily="2" charset="2"/>
              <a:buChar char="§"/>
              <a:tabLst>
                <a:tab pos="430883" algn="l"/>
              </a:tabLst>
              <a:defRPr/>
            </a:pPr>
            <a:r>
              <a:rPr lang="en-US" sz="2900" kern="0" dirty="0">
                <a:solidFill>
                  <a:sysClr val="windowText" lastClr="000000"/>
                </a:solidFill>
                <a:ea typeface="ＭＳ Ｐゴシック" charset="-128"/>
              </a:rPr>
              <a:t>Transfer of </a:t>
            </a:r>
            <a:r>
              <a:rPr lang="en-US" sz="2900" b="1" kern="0" dirty="0">
                <a:solidFill>
                  <a:sysClr val="windowText" lastClr="000000"/>
                </a:solidFill>
                <a:ea typeface="ＭＳ Ｐゴシック" charset="-128"/>
              </a:rPr>
              <a:t>diagnostic data </a:t>
            </a:r>
            <a:r>
              <a:rPr lang="en-US" sz="2900" kern="0" dirty="0">
                <a:solidFill>
                  <a:sysClr val="windowText" lastClr="000000"/>
                </a:solidFill>
                <a:ea typeface="ＭＳ Ｐゴシック" charset="-128"/>
              </a:rPr>
              <a:t>and</a:t>
            </a:r>
            <a:r>
              <a:rPr lang="en-US" sz="2900" b="1" kern="0" dirty="0">
                <a:solidFill>
                  <a:sysClr val="windowText" lastClr="000000"/>
                </a:solidFill>
                <a:ea typeface="ＭＳ Ｐゴシック" charset="-128"/>
              </a:rPr>
              <a:t> remote monitoring</a:t>
            </a:r>
          </a:p>
        </p:txBody>
      </p:sp>
      <p:sp>
        <p:nvSpPr>
          <p:cNvPr id="27" name="Text Box 7"/>
          <p:cNvSpPr txBox="1">
            <a:spLocks noChangeArrowheads="1"/>
          </p:cNvSpPr>
          <p:nvPr/>
        </p:nvSpPr>
        <p:spPr bwMode="auto">
          <a:xfrm>
            <a:off x="15070863" y="5665785"/>
            <a:ext cx="4101864" cy="3144964"/>
          </a:xfrm>
          <a:prstGeom prst="rect">
            <a:avLst/>
          </a:prstGeom>
          <a:solidFill>
            <a:schemeClr val="bg1">
              <a:alpha val="58000"/>
            </a:schemeClr>
          </a:solidFill>
          <a:ln w="9525">
            <a:solidFill>
              <a:schemeClr val="tx1"/>
            </a:solidFill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85712" tIns="85712" rIns="85712" bIns="85712" anchor="ctr"/>
          <a:lstStyle/>
          <a:p>
            <a:pPr marL="430883" indent="-22678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Wingdings" pitchFamily="2" charset="2"/>
              <a:buChar char="§"/>
              <a:tabLst>
                <a:tab pos="430883" algn="l"/>
              </a:tabLst>
              <a:defRPr/>
            </a:pPr>
            <a:r>
              <a:rPr lang="en-US" sz="2900" kern="0" dirty="0">
                <a:solidFill>
                  <a:sysClr val="windowText" lastClr="000000"/>
                </a:solidFill>
                <a:ea typeface="ＭＳ Ｐゴシック" charset="-128"/>
              </a:rPr>
              <a:t>Service according to </a:t>
            </a:r>
            <a:r>
              <a:rPr lang="en-US" sz="2900" b="1" kern="0" dirty="0">
                <a:solidFill>
                  <a:sysClr val="windowText" lastClr="000000"/>
                </a:solidFill>
                <a:ea typeface="ＭＳ Ｐゴシック" charset="-128"/>
              </a:rPr>
              <a:t>predicted</a:t>
            </a:r>
            <a:r>
              <a:rPr lang="en-US" sz="2900" kern="0" dirty="0">
                <a:solidFill>
                  <a:sysClr val="windowText" lastClr="000000"/>
                </a:solidFill>
                <a:ea typeface="ＭＳ Ｐゴシック" charset="-128"/>
              </a:rPr>
              <a:t> status of system</a:t>
            </a:r>
          </a:p>
          <a:p>
            <a:pPr marL="430883" indent="-22678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Wingdings" pitchFamily="2" charset="2"/>
              <a:buChar char="§"/>
              <a:tabLst>
                <a:tab pos="430883" algn="l"/>
              </a:tabLst>
              <a:defRPr/>
            </a:pPr>
            <a:r>
              <a:rPr lang="en-US" sz="2900" kern="0" dirty="0">
                <a:solidFill>
                  <a:sysClr val="windowText" lastClr="000000"/>
                </a:solidFill>
              </a:rPr>
              <a:t>Failure-prediction through </a:t>
            </a:r>
            <a:r>
              <a:rPr lang="en-US" sz="2900" b="1" kern="0" dirty="0">
                <a:solidFill>
                  <a:sysClr val="windowText" lastClr="000000"/>
                </a:solidFill>
              </a:rPr>
              <a:t>analysis of patterns and trends</a:t>
            </a:r>
            <a:endParaRPr lang="en-US" sz="2900" b="1" kern="0" dirty="0">
              <a:solidFill>
                <a:srgbClr val="000000"/>
              </a:solidFill>
              <a:ea typeface="ＭＳ Ｐゴシック" charset="-128"/>
              <a:cs typeface="Arial" pitchFamily="34" charset="0"/>
            </a:endParaRPr>
          </a:p>
        </p:txBody>
      </p:sp>
      <p:cxnSp>
        <p:nvCxnSpPr>
          <p:cNvPr id="28" name="Gerade Verbindung 35"/>
          <p:cNvCxnSpPr/>
          <p:nvPr/>
        </p:nvCxnSpPr>
        <p:spPr bwMode="auto">
          <a:xfrm>
            <a:off x="19223376" y="2781300"/>
            <a:ext cx="0" cy="597535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sysDash"/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9" name="Text Box 7"/>
          <p:cNvSpPr txBox="1">
            <a:spLocks noChangeArrowheads="1"/>
          </p:cNvSpPr>
          <p:nvPr/>
        </p:nvSpPr>
        <p:spPr bwMode="auto">
          <a:xfrm>
            <a:off x="19389153" y="5146452"/>
            <a:ext cx="3742520" cy="3644994"/>
          </a:xfrm>
          <a:prstGeom prst="rect">
            <a:avLst/>
          </a:prstGeom>
          <a:solidFill>
            <a:schemeClr val="bg1">
              <a:alpha val="58000"/>
            </a:schemeClr>
          </a:solidFill>
          <a:ln w="9525">
            <a:solidFill>
              <a:schemeClr val="tx1"/>
            </a:solidFill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85712" tIns="85712" rIns="85712" bIns="85712" anchor="ctr"/>
          <a:lstStyle/>
          <a:p>
            <a:pPr marL="430883" indent="-22678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Wingdings" pitchFamily="2" charset="2"/>
              <a:buChar char="§"/>
              <a:tabLst>
                <a:tab pos="430883" algn="l"/>
              </a:tabLst>
              <a:defRPr/>
            </a:pPr>
            <a:r>
              <a:rPr lang="en-US" sz="2900" b="1" kern="0" dirty="0">
                <a:solidFill>
                  <a:sysClr val="windowText" lastClr="000000"/>
                </a:solidFill>
                <a:ea typeface="ＭＳ Ｐゴシック" charset="-128"/>
              </a:rPr>
              <a:t>Reliability / performance guarantees</a:t>
            </a:r>
          </a:p>
          <a:p>
            <a:pPr marL="430883" indent="-22678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Wingdings" pitchFamily="2" charset="2"/>
              <a:buChar char="§"/>
              <a:tabLst>
                <a:tab pos="430883" algn="l"/>
              </a:tabLst>
              <a:defRPr/>
            </a:pPr>
            <a:endParaRPr lang="en-US" sz="2900" b="1" kern="0" dirty="0">
              <a:solidFill>
                <a:sysClr val="windowText" lastClr="000000"/>
              </a:solidFill>
              <a:ea typeface="ＭＳ Ｐゴシック" charset="-128"/>
            </a:endParaRPr>
          </a:p>
          <a:p>
            <a:pPr marL="430883" indent="-22678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Wingdings" pitchFamily="2" charset="2"/>
              <a:buChar char="§"/>
              <a:tabLst>
                <a:tab pos="430883" algn="l"/>
              </a:tabLst>
              <a:defRPr/>
            </a:pPr>
            <a:r>
              <a:rPr lang="en-US" sz="2900" b="1" kern="0" dirty="0">
                <a:solidFill>
                  <a:sysClr val="windowText" lastClr="000000"/>
                </a:solidFill>
                <a:ea typeface="ＭＳ Ｐゴシック" charset="-128"/>
              </a:rPr>
              <a:t>New business</a:t>
            </a:r>
            <a:br>
              <a:rPr lang="en-US" sz="2900" b="1" kern="0" dirty="0">
                <a:solidFill>
                  <a:sysClr val="windowText" lastClr="000000"/>
                </a:solidFill>
                <a:ea typeface="ＭＳ Ｐゴシック" charset="-128"/>
              </a:rPr>
            </a:br>
            <a:r>
              <a:rPr lang="en-US" sz="2900" b="1" kern="0" dirty="0">
                <a:solidFill>
                  <a:sysClr val="windowText" lastClr="000000"/>
                </a:solidFill>
                <a:ea typeface="ＭＳ Ｐゴシック" charset="-128"/>
              </a:rPr>
              <a:t>models</a:t>
            </a:r>
          </a:p>
        </p:txBody>
      </p:sp>
    </p:spTree>
    <p:extLst>
      <p:ext uri="{BB962C8B-B14F-4D97-AF65-F5344CB8AC3E}">
        <p14:creationId xmlns:p14="http://schemas.microsoft.com/office/powerpoint/2010/main" val="1268409274"/>
      </p:ext>
    </p:extLst>
  </p:cSld>
  <p:clrMapOvr>
    <a:masterClrMapping/>
  </p:clrMapOvr>
  <p:transition xmlns:p14="http://schemas.microsoft.com/office/powerpoint/2010/main"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066800" y="7239000"/>
            <a:ext cx="12344400" cy="4796917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Predictive </a:t>
            </a:r>
            <a:r>
              <a:rPr lang="en-US" dirty="0"/>
              <a:t>M</a:t>
            </a:r>
            <a:r>
              <a:rPr lang="en-US" dirty="0" smtClean="0"/>
              <a:t>aintenance approach</a:t>
            </a:r>
          </a:p>
          <a:p>
            <a:pPr lvl="1"/>
            <a:r>
              <a:rPr lang="en-US" dirty="0"/>
              <a:t>Sensors measure constantly key parameters of e.g. the traction motor bearings</a:t>
            </a:r>
          </a:p>
          <a:p>
            <a:pPr lvl="1"/>
            <a:r>
              <a:rPr lang="en-US" dirty="0"/>
              <a:t>Analytics on the data enables a stable incident prediction</a:t>
            </a:r>
          </a:p>
          <a:p>
            <a:pPr lvl="1"/>
            <a:r>
              <a:rPr lang="en-US" dirty="0"/>
              <a:t>Abnormal patterns trigger an inspection ticket for the train and prevent failure on the track</a:t>
            </a:r>
          </a:p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n-US" dirty="0" smtClean="0"/>
              <a:t>Success </a:t>
            </a:r>
            <a:r>
              <a:rPr lang="en-US" dirty="0"/>
              <a:t>story from </a:t>
            </a:r>
            <a:r>
              <a:rPr lang="en-US" dirty="0" smtClean="0"/>
              <a:t>High-Speed Trains </a:t>
            </a:r>
            <a:r>
              <a:rPr lang="en-US" dirty="0"/>
              <a:t>in Spai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ization creates real valu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1"/>
          <p:cNvSpPr txBox="1">
            <a:spLocks/>
          </p:cNvSpPr>
          <p:nvPr/>
        </p:nvSpPr>
        <p:spPr bwMode="gray">
          <a:xfrm>
            <a:off x="990600" y="2790825"/>
            <a:ext cx="22098000" cy="4295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38100" tIns="38100" rIns="38100" bIns="38100" numCol="1" anchor="t" anchorCtr="0" compatLnSpc="1">
            <a:prstTxWarp prst="textNoShape">
              <a:avLst/>
            </a:prstTxWarp>
            <a:normAutofit/>
          </a:bodyPr>
          <a:lstStyle>
            <a:lvl1pPr marL="457200" indent="-45720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rgbClr val="D3002D"/>
              </a:buClr>
              <a:buSzPct val="100000"/>
              <a:buFont typeface="Wingdings" pitchFamily="2" charset="2"/>
              <a:buChar char="§"/>
              <a:defRPr sz="43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  <a:lvl2pPr marL="1228397" indent="-548055" algn="l" rtl="0" eaLnBrk="0" fontAlgn="base" hangingPunct="0">
              <a:spcBef>
                <a:spcPts val="1900"/>
              </a:spcBef>
              <a:spcAft>
                <a:spcPct val="0"/>
              </a:spcAft>
              <a:buClr>
                <a:srgbClr val="D3002D"/>
              </a:buClr>
              <a:buSzPct val="100000"/>
              <a:buFont typeface="Arial" pitchFamily="34" charset="0"/>
              <a:buChar char="-"/>
              <a:defRPr sz="38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2pPr>
            <a:lvl3pPr marL="1768890" indent="-540495" algn="l" rtl="0" eaLnBrk="0" fontAlgn="base" hangingPunct="0">
              <a:spcBef>
                <a:spcPts val="1600"/>
              </a:spcBef>
              <a:spcAft>
                <a:spcPct val="0"/>
              </a:spcAft>
              <a:buClr>
                <a:srgbClr val="D3002D"/>
              </a:buClr>
              <a:buSzPct val="100000"/>
              <a:buFont typeface="Arial" pitchFamily="34" charset="0"/>
              <a:buChar char="-"/>
              <a:defRPr sz="33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3pPr>
            <a:lvl4pPr marL="1790700" indent="-457200" algn="l" rtl="0" eaLnBrk="0" fontAlgn="base" hangingPunct="0">
              <a:spcBef>
                <a:spcPts val="1300"/>
              </a:spcBef>
              <a:spcAft>
                <a:spcPct val="0"/>
              </a:spcAft>
              <a:buClr>
                <a:srgbClr val="D3002D"/>
              </a:buClr>
              <a:buSzPct val="100000"/>
              <a:buFont typeface="Arial" pitchFamily="34" charset="0"/>
              <a:buChar char="-"/>
              <a:defRPr sz="43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4pPr>
            <a:lvl5pPr marL="2247900" indent="-457200" algn="l" rtl="0" eaLnBrk="0" fontAlgn="base" hangingPunct="0">
              <a:spcBef>
                <a:spcPts val="1300"/>
              </a:spcBef>
              <a:spcAft>
                <a:spcPct val="0"/>
              </a:spcAft>
              <a:buClr>
                <a:srgbClr val="D3002D"/>
              </a:buClr>
              <a:buSzPct val="100000"/>
              <a:buFont typeface="Arial" pitchFamily="34" charset="0"/>
              <a:buChar char="-"/>
              <a:defRPr sz="43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5pPr>
            <a:lvl6pPr marL="2705100" indent="-457200" algn="l" rtl="0" fontAlgn="base">
              <a:spcBef>
                <a:spcPts val="1300"/>
              </a:spcBef>
              <a:spcAft>
                <a:spcPct val="0"/>
              </a:spcAft>
              <a:buClr>
                <a:srgbClr val="D3002D"/>
              </a:buClr>
              <a:buSzPct val="100000"/>
              <a:buFont typeface="Arial" charset="0"/>
              <a:buChar char="-"/>
              <a:defRPr sz="4800">
                <a:solidFill>
                  <a:schemeClr val="tx1"/>
                </a:solidFill>
                <a:latin typeface="+mn-lt"/>
                <a:ea typeface="+mn-ea"/>
                <a:cs typeface="+mn-cs"/>
                <a:sym typeface="Arial" charset="0"/>
              </a:defRPr>
            </a:lvl6pPr>
            <a:lvl7pPr marL="3162300" indent="-457200" algn="l" rtl="0" fontAlgn="base">
              <a:spcBef>
                <a:spcPts val="1300"/>
              </a:spcBef>
              <a:spcAft>
                <a:spcPct val="0"/>
              </a:spcAft>
              <a:buClr>
                <a:srgbClr val="D3002D"/>
              </a:buClr>
              <a:buSzPct val="100000"/>
              <a:buFont typeface="Arial" charset="0"/>
              <a:buChar char="-"/>
              <a:defRPr sz="4800">
                <a:solidFill>
                  <a:schemeClr val="tx1"/>
                </a:solidFill>
                <a:latin typeface="+mn-lt"/>
                <a:ea typeface="+mn-ea"/>
                <a:cs typeface="+mn-cs"/>
                <a:sym typeface="Arial" charset="0"/>
              </a:defRPr>
            </a:lvl7pPr>
            <a:lvl8pPr marL="3619500" indent="-457200" algn="l" rtl="0" fontAlgn="base">
              <a:spcBef>
                <a:spcPts val="1300"/>
              </a:spcBef>
              <a:spcAft>
                <a:spcPct val="0"/>
              </a:spcAft>
              <a:buClr>
                <a:srgbClr val="D3002D"/>
              </a:buClr>
              <a:buSzPct val="100000"/>
              <a:buFont typeface="Arial" charset="0"/>
              <a:buChar char="-"/>
              <a:defRPr sz="4800">
                <a:solidFill>
                  <a:schemeClr val="tx1"/>
                </a:solidFill>
                <a:latin typeface="+mn-lt"/>
                <a:ea typeface="+mn-ea"/>
                <a:cs typeface="+mn-cs"/>
                <a:sym typeface="Arial" charset="0"/>
              </a:defRPr>
            </a:lvl8pPr>
            <a:lvl9pPr marL="4076700" indent="-457200" algn="l" rtl="0" fontAlgn="base">
              <a:spcBef>
                <a:spcPts val="1300"/>
              </a:spcBef>
              <a:spcAft>
                <a:spcPct val="0"/>
              </a:spcAft>
              <a:buClr>
                <a:srgbClr val="D3002D"/>
              </a:buClr>
              <a:buSzPct val="100000"/>
              <a:buFont typeface="Arial" charset="0"/>
              <a:buChar char="-"/>
              <a:defRPr sz="4800">
                <a:solidFill>
                  <a:schemeClr val="tx1"/>
                </a:solidFill>
                <a:latin typeface="+mn-lt"/>
                <a:ea typeface="+mn-ea"/>
                <a:cs typeface="+mn-cs"/>
                <a:sym typeface="Arial" charset="0"/>
              </a:defRPr>
            </a:lvl9pPr>
          </a:lstStyle>
          <a:p>
            <a:r>
              <a:rPr lang="en-US" kern="0" dirty="0" smtClean="0"/>
              <a:t>High-speed trains in Spain successfully compete with planes</a:t>
            </a:r>
          </a:p>
          <a:p>
            <a:pPr lvl="1"/>
            <a:r>
              <a:rPr lang="en-US" kern="0" dirty="0" smtClean="0"/>
              <a:t>“Performance-based-maintenance” concept with flexible intervals</a:t>
            </a:r>
          </a:p>
          <a:p>
            <a:pPr lvl="1"/>
            <a:r>
              <a:rPr lang="en-US" kern="0" dirty="0" smtClean="0"/>
              <a:t>Only one of 2,300 rides is noticeable delayed –  substantial criterion for business success since passengers are fully reimbursed with fare when delay is over 15 minutes</a:t>
            </a:r>
          </a:p>
          <a:p>
            <a:pPr lvl="1"/>
            <a:r>
              <a:rPr lang="en-US" kern="0" dirty="0" smtClean="0"/>
              <a:t>Continuously winning passengers from plane between major cities in Spain</a:t>
            </a:r>
            <a:endParaRPr lang="de-DE" kern="0" dirty="0" smtClean="0"/>
          </a:p>
        </p:txBody>
      </p:sp>
      <p:grpSp>
        <p:nvGrpSpPr>
          <p:cNvPr id="11" name="Gruppieren 10"/>
          <p:cNvGrpSpPr/>
          <p:nvPr/>
        </p:nvGrpSpPr>
        <p:grpSpPr>
          <a:xfrm>
            <a:off x="14630400" y="7696200"/>
            <a:ext cx="8991600" cy="3733800"/>
            <a:chOff x="14630400" y="7696200"/>
            <a:chExt cx="8991600" cy="3733800"/>
          </a:xfrm>
        </p:grpSpPr>
        <p:pic>
          <p:nvPicPr>
            <p:cNvPr id="7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30400" y="7772400"/>
              <a:ext cx="8894894" cy="3657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9" name="Rechteck 8"/>
            <p:cNvSpPr/>
            <p:nvPr/>
          </p:nvSpPr>
          <p:spPr bwMode="auto">
            <a:xfrm>
              <a:off x="19354800" y="7696200"/>
              <a:ext cx="4267200" cy="609600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10" name="Rechteck 9"/>
            <p:cNvSpPr/>
            <p:nvPr/>
          </p:nvSpPr>
          <p:spPr bwMode="auto">
            <a:xfrm>
              <a:off x="16002000" y="8382000"/>
              <a:ext cx="5105400" cy="533400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3697613"/>
      </p:ext>
    </p:extLst>
  </p:cSld>
  <p:clrMapOvr>
    <a:masterClrMapping/>
  </p:clrMapOvr>
  <p:transition xmlns:p14="http://schemas.microsoft.com/office/powerpoint/2010/main"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219200" y="2975483"/>
            <a:ext cx="21183600" cy="9353550"/>
          </a:xfrm>
        </p:spPr>
        <p:txBody>
          <a:bodyPr/>
          <a:lstStyle/>
          <a:p>
            <a:r>
              <a:rPr lang="en-US" dirty="0"/>
              <a:t>Large European train operator wanted to leverage engine sensor data to predict train failure</a:t>
            </a:r>
          </a:p>
          <a:p>
            <a:r>
              <a:rPr lang="en-US" dirty="0"/>
              <a:t>Started with a small training set consisting of roughly one million sensor log observations and several thousand Engineer reports describing failure / fix</a:t>
            </a:r>
          </a:p>
          <a:p>
            <a:r>
              <a:rPr lang="en-US" dirty="0"/>
              <a:t>Process was to: correlate sensor and engineering data; classify sensor readings; “</a:t>
            </a:r>
            <a:r>
              <a:rPr lang="en-US" dirty="0" err="1"/>
              <a:t>sessionize</a:t>
            </a:r>
            <a:r>
              <a:rPr lang="en-US" dirty="0"/>
              <a:t>” the data into relevant intervals; model the target variable (engine problem Y/N)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n-US" dirty="0" smtClean="0"/>
              <a:t>UK </a:t>
            </a:r>
            <a:r>
              <a:rPr lang="en-US" dirty="0"/>
              <a:t>regional trai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en-US" dirty="0" smtClean="0">
                <a:latin typeface="Arial" pitchFamily="34" charset="0"/>
                <a:ea typeface="ヒラギノ角ゴ Pro W3" pitchFamily="-108" charset="-128"/>
                <a:cs typeface="Arial" pitchFamily="34" charset="0"/>
              </a:rPr>
              <a:t>Project </a:t>
            </a:r>
            <a:r>
              <a:rPr lang="de-DE" altLang="en-US" dirty="0">
                <a:latin typeface="Arial" pitchFamily="34" charset="0"/>
                <a:ea typeface="ヒラギノ角ゴ Pro W3" pitchFamily="-108" charset="-128"/>
                <a:cs typeface="Arial" pitchFamily="34" charset="0"/>
              </a:rPr>
              <a:t>E</a:t>
            </a:r>
            <a:r>
              <a:rPr lang="de-DE" altLang="en-US" dirty="0" smtClean="0">
                <a:latin typeface="Arial" pitchFamily="34" charset="0"/>
                <a:ea typeface="ヒラギノ角ゴ Pro W3" pitchFamily="-108" charset="-128"/>
                <a:cs typeface="Arial" pitchFamily="34" charset="0"/>
              </a:rPr>
              <a:t>xample 1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9214961"/>
      </p:ext>
    </p:extLst>
  </p:cSld>
  <p:clrMapOvr>
    <a:masterClrMapping/>
  </p:clrMapOvr>
  <p:transition xmlns:p14="http://schemas.microsoft.com/office/powerpoint/2010/main"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Train fleet</a:t>
            </a:r>
          </a:p>
          <a:p>
            <a:pPr lvl="1">
              <a:defRPr/>
            </a:pPr>
            <a:r>
              <a:rPr lang="en-US" dirty="0"/>
              <a:t>27 trains in the data set </a:t>
            </a:r>
          </a:p>
          <a:p>
            <a:pPr>
              <a:defRPr/>
            </a:pPr>
            <a:r>
              <a:rPr lang="en-US" dirty="0" smtClean="0"/>
              <a:t>Engine </a:t>
            </a:r>
            <a:r>
              <a:rPr lang="en-US" dirty="0"/>
              <a:t>problems</a:t>
            </a:r>
          </a:p>
          <a:p>
            <a:pPr lvl="1">
              <a:defRPr/>
            </a:pPr>
            <a:r>
              <a:rPr lang="en-US" dirty="0"/>
              <a:t>Data set of all motor related problems from engineer reports; filtered and categorized into relevancy groups for prediction using business expert feedback; categories used: 0 = non relevant, 1 = normal, 2 = very relevant</a:t>
            </a:r>
          </a:p>
          <a:p>
            <a:pPr>
              <a:defRPr/>
            </a:pPr>
            <a:r>
              <a:rPr lang="en-US" dirty="0"/>
              <a:t>Sensor readings (1 full year)</a:t>
            </a:r>
          </a:p>
          <a:p>
            <a:pPr lvl="1">
              <a:defRPr/>
            </a:pPr>
            <a:r>
              <a:rPr lang="en-US" dirty="0"/>
              <a:t>Cyclical sensor readings from trains (captured every 5 minutes). </a:t>
            </a:r>
          </a:p>
          <a:p>
            <a:pPr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en-US" dirty="0">
                <a:latin typeface="Arial" pitchFamily="34" charset="0"/>
                <a:ea typeface="ヒラギノ角ゴ Pro W3" pitchFamily="-108" charset="-128"/>
                <a:cs typeface="Arial" pitchFamily="34" charset="0"/>
              </a:rPr>
              <a:t>Data </a:t>
            </a:r>
            <a:r>
              <a:rPr lang="de-DE" altLang="en-US" dirty="0" smtClean="0">
                <a:latin typeface="Arial" pitchFamily="34" charset="0"/>
                <a:ea typeface="ヒラギノ角ゴ Pro W3" pitchFamily="-108" charset="-128"/>
                <a:cs typeface="Arial" pitchFamily="34" charset="0"/>
              </a:rPr>
              <a:t>Overview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987518"/>
      </p:ext>
    </p:extLst>
  </p:cSld>
  <p:clrMapOvr>
    <a:masterClrMapping/>
  </p:clrMapOvr>
  <p:transition xmlns:p14="http://schemas.microsoft.com/office/powerpoint/2010/main"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de-DE" dirty="0"/>
              <a:t>Using Sensor Data GPS location information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ploratory </a:t>
            </a:r>
            <a:r>
              <a:rPr lang="de-DE" dirty="0" smtClean="0"/>
              <a:t>Analytic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7" name="Group 10"/>
          <p:cNvGrpSpPr/>
          <p:nvPr/>
        </p:nvGrpSpPr>
        <p:grpSpPr>
          <a:xfrm>
            <a:off x="1625604" y="3149603"/>
            <a:ext cx="13411197" cy="4764450"/>
            <a:chOff x="609600" y="1200150"/>
            <a:chExt cx="5029199" cy="1786669"/>
          </a:xfrm>
        </p:grpSpPr>
        <p:sp>
          <p:nvSpPr>
            <p:cNvPr id="8" name="TextBox 7"/>
            <p:cNvSpPr txBox="1"/>
            <p:nvPr/>
          </p:nvSpPr>
          <p:spPr>
            <a:xfrm>
              <a:off x="3667124" y="1200150"/>
              <a:ext cx="1971675" cy="4732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3800" dirty="0"/>
                <a:t>Mapping of number  sensor readings </a:t>
              </a:r>
              <a:endParaRPr lang="en-US" sz="3800" dirty="0"/>
            </a:p>
          </p:txBody>
        </p:sp>
        <p:pic>
          <p:nvPicPr>
            <p:cNvPr id="9" name="Picture 4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00" y="1223221"/>
              <a:ext cx="3060000" cy="17635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0" name="Group 11"/>
          <p:cNvGrpSpPr/>
          <p:nvPr/>
        </p:nvGrpSpPr>
        <p:grpSpPr>
          <a:xfrm>
            <a:off x="6166400" y="5435602"/>
            <a:ext cx="13340800" cy="4735384"/>
            <a:chOff x="2312400" y="2038350"/>
            <a:chExt cx="5002800" cy="1775769"/>
          </a:xfrm>
        </p:grpSpPr>
        <p:sp>
          <p:nvSpPr>
            <p:cNvPr id="11" name="TextBox 10"/>
            <p:cNvSpPr txBox="1"/>
            <p:nvPr/>
          </p:nvSpPr>
          <p:spPr>
            <a:xfrm>
              <a:off x="5410200" y="2038350"/>
              <a:ext cx="1905000" cy="4732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3800" dirty="0"/>
                <a:t>Where do engine failures happen?</a:t>
              </a:r>
              <a:endParaRPr lang="en-US" sz="3800" dirty="0"/>
            </a:p>
          </p:txBody>
        </p:sp>
        <p:pic>
          <p:nvPicPr>
            <p:cNvPr id="12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12400" y="2053148"/>
              <a:ext cx="3060000" cy="17609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" name="Group 12"/>
          <p:cNvGrpSpPr/>
          <p:nvPr/>
        </p:nvGrpSpPr>
        <p:grpSpPr>
          <a:xfrm>
            <a:off x="11347200" y="7239003"/>
            <a:ext cx="13240000" cy="4715342"/>
            <a:chOff x="4255200" y="2714625"/>
            <a:chExt cx="4965000" cy="1768253"/>
          </a:xfrm>
        </p:grpSpPr>
        <p:sp>
          <p:nvSpPr>
            <p:cNvPr id="14" name="TextBox 13"/>
            <p:cNvSpPr txBox="1"/>
            <p:nvPr/>
          </p:nvSpPr>
          <p:spPr>
            <a:xfrm>
              <a:off x="7315200" y="2714625"/>
              <a:ext cx="1905000" cy="4732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3800" dirty="0"/>
                <a:t>Map readings of individual sensors</a:t>
              </a:r>
              <a:endParaRPr lang="en-US" sz="3800" dirty="0"/>
            </a:p>
          </p:txBody>
        </p:sp>
        <p:pic>
          <p:nvPicPr>
            <p:cNvPr id="15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55200" y="2724150"/>
              <a:ext cx="3060000" cy="17587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80985325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6asleQD00.1v4HXU0ss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_s7XtUUr0KpZBjGbhlo8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RG3K5L7sUSK5OEx956U5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pa90fVaxkGAY4NXxfDT6A"/>
</p:tagLst>
</file>

<file path=ppt/theme/theme1.xml><?xml version="1.0" encoding="utf-8"?>
<a:theme xmlns:a="http://schemas.openxmlformats.org/drawingml/2006/main" name="Default - 1_Title Slide">
  <a:themeElements>
    <a:clrScheme name="Default - 1_Title Slid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- 1_Title Slide">
      <a:majorFont>
        <a:latin typeface="Arial"/>
        <a:ea typeface="ヒラギノ角ゴ ProN W6"/>
        <a:cs typeface="ヒラギノ角ゴ ProN W6"/>
      </a:majorFont>
      <a:minorFont>
        <a:latin typeface="Arial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BE0E3"/>
        </a:solid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2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BE0E3"/>
        </a:solid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2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Default - 1_Title Slid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Default - 1_Title and Content">
  <a:themeElements>
    <a:clrScheme name="Default - 1_Title and Conten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- 1_Title and Content">
      <a:majorFont>
        <a:latin typeface="Arial"/>
        <a:ea typeface="ヒラギノ角ゴ ProN W6"/>
        <a:cs typeface="ヒラギノ角ゴ ProN W6"/>
      </a:majorFont>
      <a:minorFont>
        <a:latin typeface="Arial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BE0E3"/>
        </a:solid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2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BE0E3"/>
        </a:solid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2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Default - 1_Title and 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8</TotalTime>
  <Pages>0</Pages>
  <Words>1523</Words>
  <Characters>0</Characters>
  <Application>Microsoft Macintosh PowerPoint</Application>
  <PresentationFormat>Custom</PresentationFormat>
  <Lines>0</Lines>
  <Paragraphs>346</Paragraphs>
  <Slides>20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0</vt:i4>
      </vt:variant>
    </vt:vector>
  </HeadingPairs>
  <TitlesOfParts>
    <vt:vector size="22" baseType="lpstr">
      <vt:lpstr>Default - 1_Title Slide</vt:lpstr>
      <vt:lpstr>Default - 1_Title and Content</vt:lpstr>
      <vt:lpstr>PowerPoint Presentation</vt:lpstr>
      <vt:lpstr>The Internet of Trains</vt:lpstr>
      <vt:lpstr>Introduction</vt:lpstr>
      <vt:lpstr>Digitalization</vt:lpstr>
      <vt:lpstr>Mobility Services </vt:lpstr>
      <vt:lpstr>Digitalization creates real value</vt:lpstr>
      <vt:lpstr>Project Example 1</vt:lpstr>
      <vt:lpstr>Data Overview</vt:lpstr>
      <vt:lpstr>Exploratory Analytics</vt:lpstr>
      <vt:lpstr>Exploratory Analytics</vt:lpstr>
      <vt:lpstr>Exploratory Analytics</vt:lpstr>
      <vt:lpstr>Analytics – Predictive Modeling</vt:lpstr>
      <vt:lpstr>Analytics – Predictive Modeling</vt:lpstr>
      <vt:lpstr>Project Example 2</vt:lpstr>
      <vt:lpstr>Prioritization of Components</vt:lpstr>
      <vt:lpstr>Multiple Component Fails Analysis</vt:lpstr>
      <vt:lpstr>Association/Sequence Analysis</vt:lpstr>
      <vt:lpstr>Exemplary Results</vt:lpstr>
      <vt:lpstr>Powerful Predictive Modelling</vt:lpstr>
      <vt:lpstr>Thank you very much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leNewTemplate</dc:title>
  <dc:creator>Diana</dc:creator>
  <cp:lastModifiedBy>Sophia DeMartini</cp:lastModifiedBy>
  <cp:revision>16</cp:revision>
  <dcterms:modified xsi:type="dcterms:W3CDTF">2014-12-22T22:32:51Z</dcterms:modified>
</cp:coreProperties>
</file>